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0" r:id="rId1"/>
  </p:sldMasterIdLst>
  <p:notesMasterIdLst>
    <p:notesMasterId r:id="rId12"/>
  </p:notesMasterIdLst>
  <p:sldIdLst>
    <p:sldId id="256" r:id="rId2"/>
    <p:sldId id="257" r:id="rId3"/>
    <p:sldId id="259" r:id="rId4"/>
    <p:sldId id="261" r:id="rId5"/>
    <p:sldId id="262" r:id="rId6"/>
    <p:sldId id="284" r:id="rId7"/>
    <p:sldId id="268" r:id="rId8"/>
    <p:sldId id="269" r:id="rId9"/>
    <p:sldId id="271" r:id="rId10"/>
    <p:sldId id="260" r:id="rId11"/>
  </p:sldIdLst>
  <p:sldSz cx="9144000" cy="5143500" type="screen16x9"/>
  <p:notesSz cx="6858000" cy="9144000"/>
  <p:embeddedFontLst>
    <p:embeddedFont>
      <p:font typeface="Alata" panose="020B0604020202020204" charset="0"/>
      <p:regular r:id="rId13"/>
    </p:embeddedFont>
    <p:embeddedFont>
      <p:font typeface="Assistant" pitchFamily="2" charset="-79"/>
      <p:regular r:id="rId14"/>
      <p:bold r:id="rId15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52113E-F96A-27B9-6A9A-9F8F1859747E}" v="3206" dt="2024-11-17T17:47:44.461"/>
    <p1510:client id="{910FED69-627A-D793-6418-84C4585CF67B}" v="94" dt="2024-11-17T17:43:13.664"/>
    <p1510:client id="{A8727FF0-D4D8-8B35-1C62-FC4CF96982CC}" v="1272" dt="2024-11-17T15:13:16.663"/>
    <p1510:client id="{B5929D49-B63E-118C-9377-F02C6C3DD099}" v="3" dt="2024-11-17T03:31:34.584"/>
    <p1510:client id="{B83E29F7-87B6-7B3A-0ED1-92F1254C92A0}" v="8" dt="2024-11-17T03:44:31.122"/>
    <p1510:client id="{E7D5F4B4-6B1D-84AF-B4CB-1C13F6678B09}" v="451" dt="2024-11-17T17:19:53.007"/>
  </p1510:revLst>
</p1510:revInfo>
</file>

<file path=ppt/tableStyles.xml><?xml version="1.0" encoding="utf-8"?>
<a:tblStyleLst xmlns:a="http://schemas.openxmlformats.org/drawingml/2006/main" def="{AE756A54-2C67-4CA9-9590-F2874584B3D1}">
  <a:tblStyle styleId="{AE756A54-2C67-4CA9-9590-F2874584B3D1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" name="Google Shape;274;g136d0515b23_0_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5" name="Google Shape;275;g136d0515b23_0_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" name="Google Shape;337;gbd6c00e730_0_1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38" name="Google Shape;338;gbd6c00e730_0_1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Google Shape;281;g99f2f57a71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2" name="Google Shape;282;g99f2f57a71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g13e1f0e9f45_1_10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4" name="Google Shape;314;g13e1f0e9f45_1_10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7" name="Google Shape;367;g13e1f0e9f45_1_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8" name="Google Shape;368;g13e1f0e9f45_1_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5" name="Google Shape;375;gf7d89ae380_1_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6" name="Google Shape;376;gf7d89ae380_1_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gf7d89ae380_1_1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13" name="Google Shape;1113;gf7d89ae380_1_18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" name="Google Shape;491;gf31fdcabdc_0_10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92" name="Google Shape;492;gf31fdcabdc_0_10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1" name="Google Shape;531;gf7d89ae380_1_1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32" name="Google Shape;532;gf7d89ae380_1_12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5" name="Google Shape;555;g112e1aada3f_0_22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56" name="Google Shape;556;g112e1aada3f_0_22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Tynxth" TargetMode="Externa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hyperlink" Target="http://bit.ly/2TtBDfr" TargetMode="External"/><Relationship Id="rId4" Type="http://schemas.openxmlformats.org/officeDocument/2006/relationships/hyperlink" Target="http://bit.ly/2TyoMsr" TargetMode="Externa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 flipH="1">
            <a:off x="713090" y="540000"/>
            <a:ext cx="6306900" cy="26730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 flipH="1">
            <a:off x="713090" y="3124174"/>
            <a:ext cx="4232700" cy="475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"/>
          <p:cNvSpPr/>
          <p:nvPr/>
        </p:nvSpPr>
        <p:spPr>
          <a:xfrm rot="5400000" flipH="1">
            <a:off x="1412492" y="-4513656"/>
            <a:ext cx="5241789" cy="12182122"/>
          </a:xfrm>
          <a:custGeom>
            <a:avLst/>
            <a:gdLst/>
            <a:ahLst/>
            <a:cxnLst/>
            <a:rect l="l" t="t" r="r" b="b"/>
            <a:pathLst>
              <a:path w="19349" h="44967" extrusionOk="0">
                <a:moveTo>
                  <a:pt x="1" y="1"/>
                </a:moveTo>
                <a:lnTo>
                  <a:pt x="1" y="4004"/>
                </a:lnTo>
                <a:cubicBezTo>
                  <a:pt x="7873" y="4671"/>
                  <a:pt x="14144" y="11409"/>
                  <a:pt x="14144" y="19348"/>
                </a:cubicBezTo>
                <a:lnTo>
                  <a:pt x="14144" y="39329"/>
                </a:lnTo>
                <a:lnTo>
                  <a:pt x="12843" y="39329"/>
                </a:lnTo>
                <a:lnTo>
                  <a:pt x="16079" y="44966"/>
                </a:lnTo>
                <a:lnTo>
                  <a:pt x="19348" y="39329"/>
                </a:lnTo>
                <a:lnTo>
                  <a:pt x="18047" y="39329"/>
                </a:lnTo>
                <a:lnTo>
                  <a:pt x="18114" y="19348"/>
                </a:lnTo>
                <a:cubicBezTo>
                  <a:pt x="18114" y="9174"/>
                  <a:pt x="10041" y="668"/>
                  <a:pt x="1" y="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;p2"/>
          <p:cNvSpPr/>
          <p:nvPr/>
        </p:nvSpPr>
        <p:spPr>
          <a:xfrm rot="-5400000">
            <a:off x="2022367" y="-7431"/>
            <a:ext cx="5241789" cy="12182122"/>
          </a:xfrm>
          <a:custGeom>
            <a:avLst/>
            <a:gdLst/>
            <a:ahLst/>
            <a:cxnLst/>
            <a:rect l="l" t="t" r="r" b="b"/>
            <a:pathLst>
              <a:path w="19349" h="44967" extrusionOk="0">
                <a:moveTo>
                  <a:pt x="1" y="1"/>
                </a:moveTo>
                <a:lnTo>
                  <a:pt x="1" y="4004"/>
                </a:lnTo>
                <a:cubicBezTo>
                  <a:pt x="7873" y="4671"/>
                  <a:pt x="14144" y="11409"/>
                  <a:pt x="14144" y="19348"/>
                </a:cubicBezTo>
                <a:lnTo>
                  <a:pt x="14144" y="39329"/>
                </a:lnTo>
                <a:lnTo>
                  <a:pt x="12843" y="39329"/>
                </a:lnTo>
                <a:lnTo>
                  <a:pt x="16079" y="44966"/>
                </a:lnTo>
                <a:lnTo>
                  <a:pt x="19348" y="39329"/>
                </a:lnTo>
                <a:lnTo>
                  <a:pt x="18047" y="39329"/>
                </a:lnTo>
                <a:lnTo>
                  <a:pt x="18114" y="19348"/>
                </a:lnTo>
                <a:cubicBezTo>
                  <a:pt x="18114" y="9174"/>
                  <a:pt x="10041" y="668"/>
                  <a:pt x="1" y="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3" name="Google Shape;13;p2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Google Shape;70;p11"/>
          <p:cNvGrpSpPr/>
          <p:nvPr/>
        </p:nvGrpSpPr>
        <p:grpSpPr>
          <a:xfrm>
            <a:off x="713100" y="-76325"/>
            <a:ext cx="7706595" cy="7048675"/>
            <a:chOff x="713100" y="-76325"/>
            <a:chExt cx="7706595" cy="7048675"/>
          </a:xfrm>
        </p:grpSpPr>
        <p:sp>
          <p:nvSpPr>
            <p:cNvPr id="71" name="Google Shape;71;p11"/>
            <p:cNvSpPr/>
            <p:nvPr/>
          </p:nvSpPr>
          <p:spPr>
            <a:xfrm rot="-5400000">
              <a:off x="-2061000" y="2697775"/>
              <a:ext cx="6214500" cy="6663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72;p11"/>
            <p:cNvSpPr/>
            <p:nvPr/>
          </p:nvSpPr>
          <p:spPr>
            <a:xfrm rot="-5400000">
              <a:off x="2909446" y="1462101"/>
              <a:ext cx="3315403" cy="7705095"/>
            </a:xfrm>
            <a:custGeom>
              <a:avLst/>
              <a:gdLst/>
              <a:ahLst/>
              <a:cxnLst/>
              <a:rect l="l" t="t" r="r" b="b"/>
              <a:pathLst>
                <a:path w="19349" h="44967" extrusionOk="0">
                  <a:moveTo>
                    <a:pt x="1" y="1"/>
                  </a:moveTo>
                  <a:lnTo>
                    <a:pt x="1" y="4004"/>
                  </a:lnTo>
                  <a:cubicBezTo>
                    <a:pt x="7873" y="4671"/>
                    <a:pt x="14144" y="11409"/>
                    <a:pt x="14144" y="19348"/>
                  </a:cubicBezTo>
                  <a:lnTo>
                    <a:pt x="14144" y="39329"/>
                  </a:lnTo>
                  <a:lnTo>
                    <a:pt x="12843" y="39329"/>
                  </a:lnTo>
                  <a:lnTo>
                    <a:pt x="16079" y="44966"/>
                  </a:lnTo>
                  <a:lnTo>
                    <a:pt x="19348" y="39329"/>
                  </a:lnTo>
                  <a:lnTo>
                    <a:pt x="18047" y="39329"/>
                  </a:lnTo>
                  <a:lnTo>
                    <a:pt x="18114" y="19348"/>
                  </a:lnTo>
                  <a:cubicBezTo>
                    <a:pt x="18114" y="9174"/>
                    <a:pt x="10041" y="668"/>
                    <a:pt x="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3" name="Google Shape;73;p11"/>
          <p:cNvSpPr txBox="1">
            <a:spLocks noGrp="1"/>
          </p:cNvSpPr>
          <p:nvPr>
            <p:ph type="title" hasCustomPrompt="1"/>
          </p:nvPr>
        </p:nvSpPr>
        <p:spPr>
          <a:xfrm>
            <a:off x="1404380" y="927645"/>
            <a:ext cx="6348300" cy="1796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10300"/>
            </a:lvl1pPr>
            <a:lvl2pPr lvl="1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9600"/>
            </a:lvl2pPr>
            <a:lvl3pPr lvl="2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9600"/>
            </a:lvl3pPr>
            <a:lvl4pPr lvl="3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9600"/>
            </a:lvl4pPr>
            <a:lvl5pPr lvl="4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9600"/>
            </a:lvl5pPr>
            <a:lvl6pPr lvl="5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9600"/>
            </a:lvl6pPr>
            <a:lvl7pPr lvl="6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9600"/>
            </a:lvl7pPr>
            <a:lvl8pPr lvl="7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9600"/>
            </a:lvl8pPr>
            <a:lvl9pPr lvl="8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9600"/>
            </a:lvl9pPr>
          </a:lstStyle>
          <a:p>
            <a:r>
              <a:t>xx%</a:t>
            </a:r>
          </a:p>
        </p:txBody>
      </p:sp>
      <p:sp>
        <p:nvSpPr>
          <p:cNvPr id="74" name="Google Shape;74;p11"/>
          <p:cNvSpPr txBox="1">
            <a:spLocks noGrp="1"/>
          </p:cNvSpPr>
          <p:nvPr>
            <p:ph type="subTitle" idx="1"/>
          </p:nvPr>
        </p:nvSpPr>
        <p:spPr>
          <a:xfrm>
            <a:off x="1784066" y="2640741"/>
            <a:ext cx="5594400" cy="58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pic>
        <p:nvPicPr>
          <p:cNvPr id="75" name="Google Shape;75;p11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solidFill>
          <a:schemeClr val="dk1"/>
        </a:solidFill>
        <a:effectLst/>
      </p:bgPr>
    </p:bg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BLANK_1_1_1_1_1_1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3"/>
          <p:cNvSpPr txBox="1">
            <a:spLocks noGrp="1"/>
          </p:cNvSpPr>
          <p:nvPr>
            <p:ph type="title"/>
          </p:nvPr>
        </p:nvSpPr>
        <p:spPr>
          <a:xfrm>
            <a:off x="720000" y="1832050"/>
            <a:ext cx="20721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500"/>
              <a:buNone/>
              <a:defRPr sz="2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79" name="Google Shape;79;p13"/>
          <p:cNvSpPr txBox="1">
            <a:spLocks noGrp="1"/>
          </p:cNvSpPr>
          <p:nvPr>
            <p:ph type="title" idx="2" hasCustomPrompt="1"/>
          </p:nvPr>
        </p:nvSpPr>
        <p:spPr>
          <a:xfrm>
            <a:off x="1276425" y="1437295"/>
            <a:ext cx="894000" cy="35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r>
              <a:t>xx%</a:t>
            </a:r>
          </a:p>
        </p:txBody>
      </p:sp>
      <p:sp>
        <p:nvSpPr>
          <p:cNvPr id="80" name="Google Shape;80;p13"/>
          <p:cNvSpPr txBox="1">
            <a:spLocks noGrp="1"/>
          </p:cNvSpPr>
          <p:nvPr>
            <p:ph type="subTitle" idx="1"/>
          </p:nvPr>
        </p:nvSpPr>
        <p:spPr>
          <a:xfrm>
            <a:off x="720000" y="2359748"/>
            <a:ext cx="2072100" cy="44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1" name="Google Shape;81;p13"/>
          <p:cNvSpPr txBox="1">
            <a:spLocks noGrp="1"/>
          </p:cNvSpPr>
          <p:nvPr>
            <p:ph type="title" idx="3"/>
          </p:nvPr>
        </p:nvSpPr>
        <p:spPr>
          <a:xfrm>
            <a:off x="3535950" y="1832050"/>
            <a:ext cx="20721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500"/>
              <a:buNone/>
              <a:defRPr sz="2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82" name="Google Shape;82;p13"/>
          <p:cNvSpPr txBox="1">
            <a:spLocks noGrp="1"/>
          </p:cNvSpPr>
          <p:nvPr>
            <p:ph type="title" idx="4" hasCustomPrompt="1"/>
          </p:nvPr>
        </p:nvSpPr>
        <p:spPr>
          <a:xfrm>
            <a:off x="4092375" y="1437295"/>
            <a:ext cx="894000" cy="35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r>
              <a:t>xx%</a:t>
            </a:r>
          </a:p>
        </p:txBody>
      </p:sp>
      <p:sp>
        <p:nvSpPr>
          <p:cNvPr id="83" name="Google Shape;83;p13"/>
          <p:cNvSpPr txBox="1">
            <a:spLocks noGrp="1"/>
          </p:cNvSpPr>
          <p:nvPr>
            <p:ph type="subTitle" idx="5"/>
          </p:nvPr>
        </p:nvSpPr>
        <p:spPr>
          <a:xfrm>
            <a:off x="3535950" y="2359748"/>
            <a:ext cx="2072100" cy="44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4" name="Google Shape;84;p13"/>
          <p:cNvSpPr txBox="1">
            <a:spLocks noGrp="1"/>
          </p:cNvSpPr>
          <p:nvPr>
            <p:ph type="title" idx="6"/>
          </p:nvPr>
        </p:nvSpPr>
        <p:spPr>
          <a:xfrm>
            <a:off x="6351900" y="1832050"/>
            <a:ext cx="20721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500"/>
              <a:buNone/>
              <a:defRPr sz="2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85" name="Google Shape;85;p13"/>
          <p:cNvSpPr txBox="1">
            <a:spLocks noGrp="1"/>
          </p:cNvSpPr>
          <p:nvPr>
            <p:ph type="title" idx="7" hasCustomPrompt="1"/>
          </p:nvPr>
        </p:nvSpPr>
        <p:spPr>
          <a:xfrm>
            <a:off x="6908325" y="1437295"/>
            <a:ext cx="894000" cy="35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r>
              <a:t>xx%</a:t>
            </a:r>
          </a:p>
        </p:txBody>
      </p:sp>
      <p:sp>
        <p:nvSpPr>
          <p:cNvPr id="86" name="Google Shape;86;p13"/>
          <p:cNvSpPr txBox="1">
            <a:spLocks noGrp="1"/>
          </p:cNvSpPr>
          <p:nvPr>
            <p:ph type="subTitle" idx="8"/>
          </p:nvPr>
        </p:nvSpPr>
        <p:spPr>
          <a:xfrm>
            <a:off x="6351900" y="2359748"/>
            <a:ext cx="2072100" cy="44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7" name="Google Shape;87;p13"/>
          <p:cNvSpPr txBox="1">
            <a:spLocks noGrp="1"/>
          </p:cNvSpPr>
          <p:nvPr>
            <p:ph type="title" idx="9"/>
          </p:nvPr>
        </p:nvSpPr>
        <p:spPr>
          <a:xfrm>
            <a:off x="720000" y="3624304"/>
            <a:ext cx="20721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500"/>
              <a:buNone/>
              <a:defRPr sz="2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88" name="Google Shape;88;p13"/>
          <p:cNvSpPr txBox="1">
            <a:spLocks noGrp="1"/>
          </p:cNvSpPr>
          <p:nvPr>
            <p:ph type="title" idx="13" hasCustomPrompt="1"/>
          </p:nvPr>
        </p:nvSpPr>
        <p:spPr>
          <a:xfrm>
            <a:off x="1309050" y="3232758"/>
            <a:ext cx="894000" cy="35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5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r>
              <a:t>xx%</a:t>
            </a:r>
          </a:p>
        </p:txBody>
      </p:sp>
      <p:sp>
        <p:nvSpPr>
          <p:cNvPr id="89" name="Google Shape;89;p13"/>
          <p:cNvSpPr txBox="1">
            <a:spLocks noGrp="1"/>
          </p:cNvSpPr>
          <p:nvPr>
            <p:ph type="subTitle" idx="14"/>
          </p:nvPr>
        </p:nvSpPr>
        <p:spPr>
          <a:xfrm>
            <a:off x="720000" y="4152027"/>
            <a:ext cx="2072100" cy="44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0" name="Google Shape;90;p13"/>
          <p:cNvSpPr txBox="1">
            <a:spLocks noGrp="1"/>
          </p:cNvSpPr>
          <p:nvPr>
            <p:ph type="title" idx="15"/>
          </p:nvPr>
        </p:nvSpPr>
        <p:spPr>
          <a:xfrm>
            <a:off x="3535950" y="3624304"/>
            <a:ext cx="20721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500"/>
              <a:buNone/>
              <a:defRPr sz="2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91" name="Google Shape;91;p13"/>
          <p:cNvSpPr txBox="1">
            <a:spLocks noGrp="1"/>
          </p:cNvSpPr>
          <p:nvPr>
            <p:ph type="title" idx="16" hasCustomPrompt="1"/>
          </p:nvPr>
        </p:nvSpPr>
        <p:spPr>
          <a:xfrm>
            <a:off x="4092375" y="3232758"/>
            <a:ext cx="894000" cy="35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5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r>
              <a:t>xx%</a:t>
            </a:r>
          </a:p>
        </p:txBody>
      </p:sp>
      <p:sp>
        <p:nvSpPr>
          <p:cNvPr id="92" name="Google Shape;92;p13"/>
          <p:cNvSpPr txBox="1">
            <a:spLocks noGrp="1"/>
          </p:cNvSpPr>
          <p:nvPr>
            <p:ph type="subTitle" idx="17"/>
          </p:nvPr>
        </p:nvSpPr>
        <p:spPr>
          <a:xfrm>
            <a:off x="3535950" y="4152027"/>
            <a:ext cx="2072100" cy="44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3" name="Google Shape;93;p13"/>
          <p:cNvSpPr txBox="1">
            <a:spLocks noGrp="1"/>
          </p:cNvSpPr>
          <p:nvPr>
            <p:ph type="title" idx="18"/>
          </p:nvPr>
        </p:nvSpPr>
        <p:spPr>
          <a:xfrm>
            <a:off x="6351900" y="3624304"/>
            <a:ext cx="20721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500"/>
              <a:buNone/>
              <a:defRPr sz="2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94" name="Google Shape;94;p13"/>
          <p:cNvSpPr txBox="1">
            <a:spLocks noGrp="1"/>
          </p:cNvSpPr>
          <p:nvPr>
            <p:ph type="title" idx="19" hasCustomPrompt="1"/>
          </p:nvPr>
        </p:nvSpPr>
        <p:spPr>
          <a:xfrm>
            <a:off x="6908325" y="3232758"/>
            <a:ext cx="894000" cy="35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5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r>
              <a:t>xx%</a:t>
            </a:r>
          </a:p>
        </p:txBody>
      </p:sp>
      <p:sp>
        <p:nvSpPr>
          <p:cNvPr id="95" name="Google Shape;95;p13"/>
          <p:cNvSpPr txBox="1">
            <a:spLocks noGrp="1"/>
          </p:cNvSpPr>
          <p:nvPr>
            <p:ph type="subTitle" idx="20"/>
          </p:nvPr>
        </p:nvSpPr>
        <p:spPr>
          <a:xfrm>
            <a:off x="6351900" y="4152027"/>
            <a:ext cx="2072100" cy="44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6" name="Google Shape;96;p13"/>
          <p:cNvSpPr txBox="1">
            <a:spLocks noGrp="1"/>
          </p:cNvSpPr>
          <p:nvPr>
            <p:ph type="title" idx="21"/>
          </p:nvPr>
        </p:nvSpPr>
        <p:spPr>
          <a:xfrm>
            <a:off x="720000" y="539400"/>
            <a:ext cx="7704000" cy="47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pic>
        <p:nvPicPr>
          <p:cNvPr id="97" name="Google Shape;97;p13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98" name="Google Shape;98;p13"/>
          <p:cNvGrpSpPr/>
          <p:nvPr/>
        </p:nvGrpSpPr>
        <p:grpSpPr>
          <a:xfrm>
            <a:off x="-59734" y="85076"/>
            <a:ext cx="9080213" cy="2956474"/>
            <a:chOff x="-13240" y="656569"/>
            <a:chExt cx="9080213" cy="2956474"/>
          </a:xfrm>
        </p:grpSpPr>
        <p:sp>
          <p:nvSpPr>
            <p:cNvPr id="99" name="Google Shape;99;p13"/>
            <p:cNvSpPr/>
            <p:nvPr/>
          </p:nvSpPr>
          <p:spPr>
            <a:xfrm>
              <a:off x="7794825" y="656575"/>
              <a:ext cx="1272148" cy="2956468"/>
            </a:xfrm>
            <a:custGeom>
              <a:avLst/>
              <a:gdLst/>
              <a:ahLst/>
              <a:cxnLst/>
              <a:rect l="l" t="t" r="r" b="b"/>
              <a:pathLst>
                <a:path w="19349" h="44967" extrusionOk="0">
                  <a:moveTo>
                    <a:pt x="1" y="1"/>
                  </a:moveTo>
                  <a:lnTo>
                    <a:pt x="1" y="4004"/>
                  </a:lnTo>
                  <a:cubicBezTo>
                    <a:pt x="7873" y="4671"/>
                    <a:pt x="14144" y="11409"/>
                    <a:pt x="14144" y="19348"/>
                  </a:cubicBezTo>
                  <a:lnTo>
                    <a:pt x="14144" y="39329"/>
                  </a:lnTo>
                  <a:lnTo>
                    <a:pt x="12843" y="39329"/>
                  </a:lnTo>
                  <a:lnTo>
                    <a:pt x="16079" y="44966"/>
                  </a:lnTo>
                  <a:lnTo>
                    <a:pt x="19348" y="39329"/>
                  </a:lnTo>
                  <a:lnTo>
                    <a:pt x="18047" y="39329"/>
                  </a:lnTo>
                  <a:lnTo>
                    <a:pt x="18114" y="19348"/>
                  </a:lnTo>
                  <a:cubicBezTo>
                    <a:pt x="18114" y="9174"/>
                    <a:pt x="10041" y="668"/>
                    <a:pt x="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" name="Google Shape;100;p13"/>
            <p:cNvSpPr/>
            <p:nvPr/>
          </p:nvSpPr>
          <p:spPr>
            <a:xfrm>
              <a:off x="-13240" y="656569"/>
              <a:ext cx="7822500" cy="2628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>
  <p:cSld name="CUSTOM_1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" name="Google Shape;102;p14"/>
          <p:cNvGrpSpPr/>
          <p:nvPr/>
        </p:nvGrpSpPr>
        <p:grpSpPr>
          <a:xfrm flipH="1">
            <a:off x="2740259" y="1371590"/>
            <a:ext cx="9806231" cy="7960911"/>
            <a:chOff x="2799675" y="728475"/>
            <a:chExt cx="819775" cy="665500"/>
          </a:xfrm>
        </p:grpSpPr>
        <p:sp>
          <p:nvSpPr>
            <p:cNvPr id="103" name="Google Shape;103;p14"/>
            <p:cNvSpPr/>
            <p:nvPr/>
          </p:nvSpPr>
          <p:spPr>
            <a:xfrm>
              <a:off x="3350075" y="1162100"/>
              <a:ext cx="269375" cy="231875"/>
            </a:xfrm>
            <a:custGeom>
              <a:avLst/>
              <a:gdLst/>
              <a:ahLst/>
              <a:cxnLst/>
              <a:rect l="l" t="t" r="r" b="b"/>
              <a:pathLst>
                <a:path w="10775" h="9275" extrusionOk="0">
                  <a:moveTo>
                    <a:pt x="0" y="1"/>
                  </a:moveTo>
                  <a:lnTo>
                    <a:pt x="5371" y="9274"/>
                  </a:lnTo>
                  <a:lnTo>
                    <a:pt x="1077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" name="Google Shape;104;p14"/>
            <p:cNvSpPr/>
            <p:nvPr/>
          </p:nvSpPr>
          <p:spPr>
            <a:xfrm>
              <a:off x="2799675" y="728475"/>
              <a:ext cx="740550" cy="433650"/>
            </a:xfrm>
            <a:custGeom>
              <a:avLst/>
              <a:gdLst/>
              <a:ahLst/>
              <a:cxnLst/>
              <a:rect l="l" t="t" r="r" b="b"/>
              <a:pathLst>
                <a:path w="29622" h="17346" extrusionOk="0">
                  <a:moveTo>
                    <a:pt x="12276" y="0"/>
                  </a:moveTo>
                  <a:cubicBezTo>
                    <a:pt x="7472" y="0"/>
                    <a:pt x="3136" y="1935"/>
                    <a:pt x="0" y="5070"/>
                  </a:cubicBezTo>
                  <a:lnTo>
                    <a:pt x="3136" y="8206"/>
                  </a:lnTo>
                  <a:cubicBezTo>
                    <a:pt x="5471" y="5871"/>
                    <a:pt x="8707" y="4403"/>
                    <a:pt x="12276" y="4403"/>
                  </a:cubicBezTo>
                  <a:cubicBezTo>
                    <a:pt x="19381" y="4403"/>
                    <a:pt x="25185" y="10207"/>
                    <a:pt x="25185" y="17346"/>
                  </a:cubicBezTo>
                  <a:lnTo>
                    <a:pt x="29621" y="17346"/>
                  </a:lnTo>
                  <a:cubicBezTo>
                    <a:pt x="29621" y="7772"/>
                    <a:pt x="21849" y="0"/>
                    <a:pt x="12276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05" name="Google Shape;105;p14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  <p:sp>
        <p:nvSpPr>
          <p:cNvPr id="106" name="Google Shape;106;p14"/>
          <p:cNvSpPr txBox="1">
            <a:spLocks noGrp="1"/>
          </p:cNvSpPr>
          <p:nvPr>
            <p:ph type="body" idx="1"/>
          </p:nvPr>
        </p:nvSpPr>
        <p:spPr>
          <a:xfrm>
            <a:off x="713100" y="1208700"/>
            <a:ext cx="3858900" cy="2937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Char char="●"/>
              <a:defRPr sz="1200"/>
            </a:lvl1pPr>
            <a:lvl2pPr marL="914400" lvl="1" indent="-3048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SzPts val="1200"/>
              <a:buFont typeface="Roboto Condensed Light"/>
              <a:buChar char="○"/>
              <a:defRPr/>
            </a:lvl2pPr>
            <a:lvl3pPr marL="1371600" lvl="2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Roboto Condensed Light"/>
              <a:buChar char="■"/>
              <a:defRPr/>
            </a:lvl3pPr>
            <a:lvl4pPr marL="1828800" lvl="3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Roboto Condensed Light"/>
              <a:buChar char="●"/>
              <a:defRPr/>
            </a:lvl4pPr>
            <a:lvl5pPr marL="2286000" lvl="4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Roboto Condensed Light"/>
              <a:buChar char="○"/>
              <a:defRPr/>
            </a:lvl5pPr>
            <a:lvl6pPr marL="2743200" lvl="5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Roboto Condensed Light"/>
              <a:buChar char="■"/>
              <a:defRPr/>
            </a:lvl6pPr>
            <a:lvl7pPr marL="3200400" lvl="6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Roboto Condensed Light"/>
              <a:buChar char="●"/>
              <a:defRPr/>
            </a:lvl7pPr>
            <a:lvl8pPr marL="3657600" lvl="7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Roboto Condensed Light"/>
              <a:buChar char="○"/>
              <a:defRPr/>
            </a:lvl8pPr>
            <a:lvl9pPr marL="4114800" lvl="8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Roboto Condensed Light"/>
              <a:buChar char="■"/>
              <a:defRPr/>
            </a:lvl9pPr>
          </a:lstStyle>
          <a:p>
            <a:endParaRPr/>
          </a:p>
        </p:txBody>
      </p:sp>
      <p:sp>
        <p:nvSpPr>
          <p:cNvPr id="107" name="Google Shape;107;p14"/>
          <p:cNvSpPr txBox="1">
            <a:spLocks noGrp="1"/>
          </p:cNvSpPr>
          <p:nvPr>
            <p:ph type="title"/>
          </p:nvPr>
        </p:nvSpPr>
        <p:spPr>
          <a:xfrm>
            <a:off x="720000" y="539400"/>
            <a:ext cx="7704000" cy="47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BLANK_1_1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5"/>
          <p:cNvSpPr txBox="1">
            <a:spLocks noGrp="1"/>
          </p:cNvSpPr>
          <p:nvPr>
            <p:ph type="title"/>
          </p:nvPr>
        </p:nvSpPr>
        <p:spPr>
          <a:xfrm>
            <a:off x="712492" y="2871900"/>
            <a:ext cx="5335800" cy="420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2500"/>
              <a:buNone/>
              <a:defRPr sz="22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110" name="Google Shape;110;p15"/>
          <p:cNvSpPr txBox="1">
            <a:spLocks noGrp="1"/>
          </p:cNvSpPr>
          <p:nvPr>
            <p:ph type="subTitle" idx="1"/>
          </p:nvPr>
        </p:nvSpPr>
        <p:spPr>
          <a:xfrm>
            <a:off x="712492" y="646050"/>
            <a:ext cx="5335800" cy="222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None/>
              <a:defRPr sz="3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111" name="Google Shape;111;p15"/>
          <p:cNvSpPr/>
          <p:nvPr/>
        </p:nvSpPr>
        <p:spPr>
          <a:xfrm rot="-5400000">
            <a:off x="2309303" y="119578"/>
            <a:ext cx="4984593" cy="11584399"/>
          </a:xfrm>
          <a:custGeom>
            <a:avLst/>
            <a:gdLst/>
            <a:ahLst/>
            <a:cxnLst/>
            <a:rect l="l" t="t" r="r" b="b"/>
            <a:pathLst>
              <a:path w="19349" h="44967" extrusionOk="0">
                <a:moveTo>
                  <a:pt x="1" y="1"/>
                </a:moveTo>
                <a:lnTo>
                  <a:pt x="1" y="4004"/>
                </a:lnTo>
                <a:cubicBezTo>
                  <a:pt x="7873" y="4671"/>
                  <a:pt x="14144" y="11409"/>
                  <a:pt x="14144" y="19348"/>
                </a:cubicBezTo>
                <a:lnTo>
                  <a:pt x="14144" y="39329"/>
                </a:lnTo>
                <a:lnTo>
                  <a:pt x="12843" y="39329"/>
                </a:lnTo>
                <a:lnTo>
                  <a:pt x="16079" y="44966"/>
                </a:lnTo>
                <a:lnTo>
                  <a:pt x="19348" y="39329"/>
                </a:lnTo>
                <a:lnTo>
                  <a:pt x="18047" y="39329"/>
                </a:lnTo>
                <a:lnTo>
                  <a:pt x="18114" y="19348"/>
                </a:lnTo>
                <a:cubicBezTo>
                  <a:pt x="18114" y="9174"/>
                  <a:pt x="10041" y="668"/>
                  <a:pt x="1" y="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12" name="Google Shape;112;p15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1">
  <p:cSld name="CUSTOM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16"/>
          <p:cNvSpPr txBox="1">
            <a:spLocks noGrp="1"/>
          </p:cNvSpPr>
          <p:nvPr>
            <p:ph type="title"/>
          </p:nvPr>
        </p:nvSpPr>
        <p:spPr>
          <a:xfrm>
            <a:off x="5434200" y="1666013"/>
            <a:ext cx="2996700" cy="507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115" name="Google Shape;115;p16"/>
          <p:cNvSpPr txBox="1">
            <a:spLocks noGrp="1"/>
          </p:cNvSpPr>
          <p:nvPr>
            <p:ph type="subTitle" idx="1"/>
          </p:nvPr>
        </p:nvSpPr>
        <p:spPr>
          <a:xfrm>
            <a:off x="5434200" y="2173388"/>
            <a:ext cx="2996700" cy="1304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6" name="Google Shape;116;p16"/>
          <p:cNvGrpSpPr/>
          <p:nvPr/>
        </p:nvGrpSpPr>
        <p:grpSpPr>
          <a:xfrm rot="-5400000" flipH="1">
            <a:off x="-527729" y="-2526480"/>
            <a:ext cx="8379400" cy="9999105"/>
            <a:chOff x="116750" y="6"/>
            <a:chExt cx="4503843" cy="5374418"/>
          </a:xfrm>
        </p:grpSpPr>
        <p:sp>
          <p:nvSpPr>
            <p:cNvPr id="117" name="Google Shape;117;p16"/>
            <p:cNvSpPr/>
            <p:nvPr/>
          </p:nvSpPr>
          <p:spPr>
            <a:xfrm rot="10800000" flipH="1">
              <a:off x="1896628" y="6"/>
              <a:ext cx="809158" cy="2076716"/>
            </a:xfrm>
            <a:custGeom>
              <a:avLst/>
              <a:gdLst/>
              <a:ahLst/>
              <a:cxnLst/>
              <a:rect l="l" t="t" r="r" b="b"/>
              <a:pathLst>
                <a:path w="7006" h="17981" extrusionOk="0">
                  <a:moveTo>
                    <a:pt x="1369" y="1"/>
                  </a:moveTo>
                  <a:lnTo>
                    <a:pt x="1369" y="11943"/>
                  </a:lnTo>
                  <a:lnTo>
                    <a:pt x="1" y="11943"/>
                  </a:lnTo>
                  <a:lnTo>
                    <a:pt x="3503" y="17980"/>
                  </a:lnTo>
                  <a:lnTo>
                    <a:pt x="7006" y="11943"/>
                  </a:lnTo>
                  <a:lnTo>
                    <a:pt x="5605" y="11943"/>
                  </a:lnTo>
                  <a:lnTo>
                    <a:pt x="563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" name="Google Shape;118;p16"/>
            <p:cNvSpPr/>
            <p:nvPr/>
          </p:nvSpPr>
          <p:spPr>
            <a:xfrm rot="10800000" flipH="1">
              <a:off x="116750" y="1826071"/>
              <a:ext cx="4503843" cy="3548353"/>
            </a:xfrm>
            <a:custGeom>
              <a:avLst/>
              <a:gdLst/>
              <a:ahLst/>
              <a:cxnLst/>
              <a:rect l="l" t="t" r="r" b="b"/>
              <a:pathLst>
                <a:path w="38996" h="30723" extrusionOk="0">
                  <a:moveTo>
                    <a:pt x="1" y="0"/>
                  </a:moveTo>
                  <a:lnTo>
                    <a:pt x="1" y="8907"/>
                  </a:lnTo>
                  <a:cubicBezTo>
                    <a:pt x="201" y="20181"/>
                    <a:pt x="9541" y="29321"/>
                    <a:pt x="20816" y="29321"/>
                  </a:cubicBezTo>
                  <a:lnTo>
                    <a:pt x="32924" y="29255"/>
                  </a:lnTo>
                  <a:lnTo>
                    <a:pt x="32924" y="29255"/>
                  </a:lnTo>
                  <a:lnTo>
                    <a:pt x="32924" y="30722"/>
                  </a:lnTo>
                  <a:lnTo>
                    <a:pt x="38995" y="27220"/>
                  </a:lnTo>
                  <a:lnTo>
                    <a:pt x="32924" y="23717"/>
                  </a:lnTo>
                  <a:lnTo>
                    <a:pt x="32924" y="25085"/>
                  </a:lnTo>
                  <a:lnTo>
                    <a:pt x="20749" y="25051"/>
                  </a:lnTo>
                  <a:cubicBezTo>
                    <a:pt x="11909" y="25051"/>
                    <a:pt x="4504" y="17846"/>
                    <a:pt x="4237" y="8973"/>
                  </a:cubicBezTo>
                  <a:lnTo>
                    <a:pt x="4237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19" name="Google Shape;119;p16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2">
  <p:cSld name="CUSTOM_4"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1" name="Google Shape;121;p17"/>
          <p:cNvGrpSpPr/>
          <p:nvPr/>
        </p:nvGrpSpPr>
        <p:grpSpPr>
          <a:xfrm rot="5400587">
            <a:off x="727567" y="-767340"/>
            <a:ext cx="7918657" cy="9449302"/>
            <a:chOff x="116750" y="6"/>
            <a:chExt cx="4503843" cy="5374418"/>
          </a:xfrm>
        </p:grpSpPr>
        <p:sp>
          <p:nvSpPr>
            <p:cNvPr id="122" name="Google Shape;122;p17"/>
            <p:cNvSpPr/>
            <p:nvPr/>
          </p:nvSpPr>
          <p:spPr>
            <a:xfrm rot="10800000" flipH="1">
              <a:off x="1896628" y="6"/>
              <a:ext cx="809158" cy="2076716"/>
            </a:xfrm>
            <a:custGeom>
              <a:avLst/>
              <a:gdLst/>
              <a:ahLst/>
              <a:cxnLst/>
              <a:rect l="l" t="t" r="r" b="b"/>
              <a:pathLst>
                <a:path w="7006" h="17981" extrusionOk="0">
                  <a:moveTo>
                    <a:pt x="1369" y="1"/>
                  </a:moveTo>
                  <a:lnTo>
                    <a:pt x="1369" y="11943"/>
                  </a:lnTo>
                  <a:lnTo>
                    <a:pt x="1" y="11943"/>
                  </a:lnTo>
                  <a:lnTo>
                    <a:pt x="3503" y="17980"/>
                  </a:lnTo>
                  <a:lnTo>
                    <a:pt x="7006" y="11943"/>
                  </a:lnTo>
                  <a:lnTo>
                    <a:pt x="5605" y="11943"/>
                  </a:lnTo>
                  <a:lnTo>
                    <a:pt x="563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" name="Google Shape;123;p17"/>
            <p:cNvSpPr/>
            <p:nvPr/>
          </p:nvSpPr>
          <p:spPr>
            <a:xfrm rot="10800000" flipH="1">
              <a:off x="116750" y="1826071"/>
              <a:ext cx="4503843" cy="3548353"/>
            </a:xfrm>
            <a:custGeom>
              <a:avLst/>
              <a:gdLst/>
              <a:ahLst/>
              <a:cxnLst/>
              <a:rect l="l" t="t" r="r" b="b"/>
              <a:pathLst>
                <a:path w="38996" h="30723" extrusionOk="0">
                  <a:moveTo>
                    <a:pt x="1" y="0"/>
                  </a:moveTo>
                  <a:lnTo>
                    <a:pt x="1" y="8907"/>
                  </a:lnTo>
                  <a:cubicBezTo>
                    <a:pt x="201" y="20181"/>
                    <a:pt x="9541" y="29321"/>
                    <a:pt x="20816" y="29321"/>
                  </a:cubicBezTo>
                  <a:lnTo>
                    <a:pt x="32924" y="29255"/>
                  </a:lnTo>
                  <a:lnTo>
                    <a:pt x="32924" y="29255"/>
                  </a:lnTo>
                  <a:lnTo>
                    <a:pt x="32924" y="30722"/>
                  </a:lnTo>
                  <a:lnTo>
                    <a:pt x="38995" y="27220"/>
                  </a:lnTo>
                  <a:lnTo>
                    <a:pt x="32924" y="23717"/>
                  </a:lnTo>
                  <a:lnTo>
                    <a:pt x="32924" y="25085"/>
                  </a:lnTo>
                  <a:lnTo>
                    <a:pt x="20749" y="25051"/>
                  </a:lnTo>
                  <a:cubicBezTo>
                    <a:pt x="11909" y="25051"/>
                    <a:pt x="4504" y="17846"/>
                    <a:pt x="4237" y="8973"/>
                  </a:cubicBezTo>
                  <a:lnTo>
                    <a:pt x="4237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24" name="Google Shape;124;p17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  <p:sp>
        <p:nvSpPr>
          <p:cNvPr id="125" name="Google Shape;125;p17"/>
          <p:cNvSpPr txBox="1">
            <a:spLocks noGrp="1"/>
          </p:cNvSpPr>
          <p:nvPr>
            <p:ph type="title"/>
          </p:nvPr>
        </p:nvSpPr>
        <p:spPr>
          <a:xfrm>
            <a:off x="964981" y="1666013"/>
            <a:ext cx="2996700" cy="507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126" name="Google Shape;126;p17"/>
          <p:cNvSpPr txBox="1">
            <a:spLocks noGrp="1"/>
          </p:cNvSpPr>
          <p:nvPr>
            <p:ph type="subTitle" idx="1"/>
          </p:nvPr>
        </p:nvSpPr>
        <p:spPr>
          <a:xfrm>
            <a:off x="964981" y="2173388"/>
            <a:ext cx="2996700" cy="1304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3">
  <p:cSld name="CUSTOM_4_1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8" name="Google Shape;128;p18"/>
          <p:cNvGrpSpPr/>
          <p:nvPr/>
        </p:nvGrpSpPr>
        <p:grpSpPr>
          <a:xfrm>
            <a:off x="-3660541" y="914390"/>
            <a:ext cx="9806231" cy="7960911"/>
            <a:chOff x="2799675" y="728475"/>
            <a:chExt cx="819775" cy="665500"/>
          </a:xfrm>
        </p:grpSpPr>
        <p:sp>
          <p:nvSpPr>
            <p:cNvPr id="129" name="Google Shape;129;p18"/>
            <p:cNvSpPr/>
            <p:nvPr/>
          </p:nvSpPr>
          <p:spPr>
            <a:xfrm>
              <a:off x="3350075" y="1162100"/>
              <a:ext cx="269375" cy="231875"/>
            </a:xfrm>
            <a:custGeom>
              <a:avLst/>
              <a:gdLst/>
              <a:ahLst/>
              <a:cxnLst/>
              <a:rect l="l" t="t" r="r" b="b"/>
              <a:pathLst>
                <a:path w="10775" h="9275" extrusionOk="0">
                  <a:moveTo>
                    <a:pt x="0" y="1"/>
                  </a:moveTo>
                  <a:lnTo>
                    <a:pt x="5371" y="9274"/>
                  </a:lnTo>
                  <a:lnTo>
                    <a:pt x="1077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" name="Google Shape;130;p18"/>
            <p:cNvSpPr/>
            <p:nvPr/>
          </p:nvSpPr>
          <p:spPr>
            <a:xfrm>
              <a:off x="2799675" y="728475"/>
              <a:ext cx="740550" cy="433650"/>
            </a:xfrm>
            <a:custGeom>
              <a:avLst/>
              <a:gdLst/>
              <a:ahLst/>
              <a:cxnLst/>
              <a:rect l="l" t="t" r="r" b="b"/>
              <a:pathLst>
                <a:path w="29622" h="17346" extrusionOk="0">
                  <a:moveTo>
                    <a:pt x="12276" y="0"/>
                  </a:moveTo>
                  <a:cubicBezTo>
                    <a:pt x="7472" y="0"/>
                    <a:pt x="3136" y="1935"/>
                    <a:pt x="0" y="5070"/>
                  </a:cubicBezTo>
                  <a:lnTo>
                    <a:pt x="3136" y="8206"/>
                  </a:lnTo>
                  <a:cubicBezTo>
                    <a:pt x="5471" y="5871"/>
                    <a:pt x="8707" y="4403"/>
                    <a:pt x="12276" y="4403"/>
                  </a:cubicBezTo>
                  <a:cubicBezTo>
                    <a:pt x="19381" y="4403"/>
                    <a:pt x="25185" y="10207"/>
                    <a:pt x="25185" y="17346"/>
                  </a:cubicBezTo>
                  <a:lnTo>
                    <a:pt x="29621" y="17346"/>
                  </a:lnTo>
                  <a:cubicBezTo>
                    <a:pt x="29621" y="7772"/>
                    <a:pt x="21849" y="0"/>
                    <a:pt x="12276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1" name="Google Shape;131;p18"/>
          <p:cNvSpPr txBox="1">
            <a:spLocks noGrp="1"/>
          </p:cNvSpPr>
          <p:nvPr>
            <p:ph type="title"/>
          </p:nvPr>
        </p:nvSpPr>
        <p:spPr>
          <a:xfrm>
            <a:off x="5155615" y="1818400"/>
            <a:ext cx="3267900" cy="507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132" name="Google Shape;132;p18"/>
          <p:cNvSpPr txBox="1">
            <a:spLocks noGrp="1"/>
          </p:cNvSpPr>
          <p:nvPr>
            <p:ph type="subTitle" idx="1"/>
          </p:nvPr>
        </p:nvSpPr>
        <p:spPr>
          <a:xfrm>
            <a:off x="5155615" y="2325775"/>
            <a:ext cx="3267900" cy="1018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3" name="Google Shape;133;p18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4">
  <p:cSld name="CUSTOM_4_1_1"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19"/>
          <p:cNvSpPr txBox="1">
            <a:spLocks noGrp="1"/>
          </p:cNvSpPr>
          <p:nvPr>
            <p:ph type="title"/>
          </p:nvPr>
        </p:nvSpPr>
        <p:spPr>
          <a:xfrm>
            <a:off x="721698" y="1818400"/>
            <a:ext cx="3267900" cy="507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136" name="Google Shape;136;p19"/>
          <p:cNvSpPr txBox="1">
            <a:spLocks noGrp="1"/>
          </p:cNvSpPr>
          <p:nvPr>
            <p:ph type="subTitle" idx="1"/>
          </p:nvPr>
        </p:nvSpPr>
        <p:spPr>
          <a:xfrm>
            <a:off x="721698" y="2325775"/>
            <a:ext cx="3267900" cy="1018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7" name="Google Shape;137;p19"/>
          <p:cNvGrpSpPr/>
          <p:nvPr/>
        </p:nvGrpSpPr>
        <p:grpSpPr>
          <a:xfrm>
            <a:off x="3815671" y="-1612080"/>
            <a:ext cx="8379400" cy="9999105"/>
            <a:chOff x="116750" y="6"/>
            <a:chExt cx="4503843" cy="5374418"/>
          </a:xfrm>
        </p:grpSpPr>
        <p:sp>
          <p:nvSpPr>
            <p:cNvPr id="138" name="Google Shape;138;p19"/>
            <p:cNvSpPr/>
            <p:nvPr/>
          </p:nvSpPr>
          <p:spPr>
            <a:xfrm rot="10800000" flipH="1">
              <a:off x="1896628" y="6"/>
              <a:ext cx="809158" cy="2076716"/>
            </a:xfrm>
            <a:custGeom>
              <a:avLst/>
              <a:gdLst/>
              <a:ahLst/>
              <a:cxnLst/>
              <a:rect l="l" t="t" r="r" b="b"/>
              <a:pathLst>
                <a:path w="7006" h="17981" extrusionOk="0">
                  <a:moveTo>
                    <a:pt x="1369" y="1"/>
                  </a:moveTo>
                  <a:lnTo>
                    <a:pt x="1369" y="11943"/>
                  </a:lnTo>
                  <a:lnTo>
                    <a:pt x="1" y="11943"/>
                  </a:lnTo>
                  <a:lnTo>
                    <a:pt x="3503" y="17980"/>
                  </a:lnTo>
                  <a:lnTo>
                    <a:pt x="7006" y="11943"/>
                  </a:lnTo>
                  <a:lnTo>
                    <a:pt x="5605" y="11943"/>
                  </a:lnTo>
                  <a:lnTo>
                    <a:pt x="563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" name="Google Shape;139;p19"/>
            <p:cNvSpPr/>
            <p:nvPr/>
          </p:nvSpPr>
          <p:spPr>
            <a:xfrm rot="10800000" flipH="1">
              <a:off x="116750" y="1826071"/>
              <a:ext cx="4503843" cy="3548353"/>
            </a:xfrm>
            <a:custGeom>
              <a:avLst/>
              <a:gdLst/>
              <a:ahLst/>
              <a:cxnLst/>
              <a:rect l="l" t="t" r="r" b="b"/>
              <a:pathLst>
                <a:path w="38996" h="30723" extrusionOk="0">
                  <a:moveTo>
                    <a:pt x="1" y="0"/>
                  </a:moveTo>
                  <a:lnTo>
                    <a:pt x="1" y="8907"/>
                  </a:lnTo>
                  <a:cubicBezTo>
                    <a:pt x="201" y="20181"/>
                    <a:pt x="9541" y="29321"/>
                    <a:pt x="20816" y="29321"/>
                  </a:cubicBezTo>
                  <a:lnTo>
                    <a:pt x="32924" y="29255"/>
                  </a:lnTo>
                  <a:lnTo>
                    <a:pt x="32924" y="29255"/>
                  </a:lnTo>
                  <a:lnTo>
                    <a:pt x="32924" y="30722"/>
                  </a:lnTo>
                  <a:lnTo>
                    <a:pt x="38995" y="27220"/>
                  </a:lnTo>
                  <a:lnTo>
                    <a:pt x="32924" y="23717"/>
                  </a:lnTo>
                  <a:lnTo>
                    <a:pt x="32924" y="25085"/>
                  </a:lnTo>
                  <a:lnTo>
                    <a:pt x="20749" y="25051"/>
                  </a:lnTo>
                  <a:cubicBezTo>
                    <a:pt x="11909" y="25051"/>
                    <a:pt x="4504" y="17846"/>
                    <a:pt x="4237" y="8973"/>
                  </a:cubicBezTo>
                  <a:lnTo>
                    <a:pt x="4237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40" name="Google Shape;140;p19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1">
  <p:cSld name="CUSTOM_12"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2" name="Google Shape;142;p20"/>
          <p:cNvGrpSpPr/>
          <p:nvPr/>
        </p:nvGrpSpPr>
        <p:grpSpPr>
          <a:xfrm>
            <a:off x="22889" y="29617"/>
            <a:ext cx="8931989" cy="5850191"/>
            <a:chOff x="22889" y="29617"/>
            <a:chExt cx="8931989" cy="5850191"/>
          </a:xfrm>
        </p:grpSpPr>
        <p:grpSp>
          <p:nvGrpSpPr>
            <p:cNvPr id="143" name="Google Shape;143;p20"/>
            <p:cNvGrpSpPr/>
            <p:nvPr/>
          </p:nvGrpSpPr>
          <p:grpSpPr>
            <a:xfrm>
              <a:off x="22889" y="29617"/>
              <a:ext cx="6532542" cy="5850191"/>
              <a:chOff x="22889" y="29617"/>
              <a:chExt cx="6532542" cy="5850191"/>
            </a:xfrm>
          </p:grpSpPr>
          <p:grpSp>
            <p:nvGrpSpPr>
              <p:cNvPr id="144" name="Google Shape;144;p20"/>
              <p:cNvGrpSpPr/>
              <p:nvPr/>
            </p:nvGrpSpPr>
            <p:grpSpPr>
              <a:xfrm rot="-5400000">
                <a:off x="-2436928" y="2489435"/>
                <a:ext cx="5850191" cy="930556"/>
                <a:chOff x="5854966" y="4569231"/>
                <a:chExt cx="2743220" cy="436369"/>
              </a:xfrm>
            </p:grpSpPr>
            <p:sp>
              <p:nvSpPr>
                <p:cNvPr id="145" name="Google Shape;145;p20"/>
                <p:cNvSpPr/>
                <p:nvPr/>
              </p:nvSpPr>
              <p:spPr>
                <a:xfrm rot="-5400000">
                  <a:off x="7817646" y="4225060"/>
                  <a:ext cx="436369" cy="11247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06" h="17981" extrusionOk="0">
                      <a:moveTo>
                        <a:pt x="1369" y="1"/>
                      </a:moveTo>
                      <a:lnTo>
                        <a:pt x="1369" y="11943"/>
                      </a:lnTo>
                      <a:lnTo>
                        <a:pt x="1" y="11943"/>
                      </a:lnTo>
                      <a:lnTo>
                        <a:pt x="3503" y="17980"/>
                      </a:lnTo>
                      <a:lnTo>
                        <a:pt x="7006" y="11943"/>
                      </a:lnTo>
                      <a:lnTo>
                        <a:pt x="5605" y="11943"/>
                      </a:lnTo>
                      <a:lnTo>
                        <a:pt x="5638" y="1"/>
                      </a:ln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46" name="Google Shape;146;p20"/>
                <p:cNvSpPr/>
                <p:nvPr/>
              </p:nvSpPr>
              <p:spPr>
                <a:xfrm flipH="1">
                  <a:off x="5854966" y="4654528"/>
                  <a:ext cx="1694700" cy="265200"/>
                </a:xfrm>
                <a:prstGeom prst="rect">
                  <a:avLst/>
                </a:pr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147" name="Google Shape;147;p20"/>
              <p:cNvSpPr/>
              <p:nvPr/>
            </p:nvSpPr>
            <p:spPr>
              <a:xfrm rot="-5400000">
                <a:off x="2010782" y="24226"/>
                <a:ext cx="2734449" cy="6354849"/>
              </a:xfrm>
              <a:custGeom>
                <a:avLst/>
                <a:gdLst/>
                <a:ahLst/>
                <a:cxnLst/>
                <a:rect l="l" t="t" r="r" b="b"/>
                <a:pathLst>
                  <a:path w="19349" h="44967" extrusionOk="0">
                    <a:moveTo>
                      <a:pt x="1" y="1"/>
                    </a:moveTo>
                    <a:lnTo>
                      <a:pt x="1" y="4004"/>
                    </a:lnTo>
                    <a:cubicBezTo>
                      <a:pt x="7873" y="4671"/>
                      <a:pt x="14144" y="11409"/>
                      <a:pt x="14144" y="19348"/>
                    </a:cubicBezTo>
                    <a:lnTo>
                      <a:pt x="14144" y="39329"/>
                    </a:lnTo>
                    <a:lnTo>
                      <a:pt x="12843" y="39329"/>
                    </a:lnTo>
                    <a:lnTo>
                      <a:pt x="16079" y="44966"/>
                    </a:lnTo>
                    <a:lnTo>
                      <a:pt x="19348" y="39329"/>
                    </a:lnTo>
                    <a:lnTo>
                      <a:pt x="18047" y="39329"/>
                    </a:lnTo>
                    <a:lnTo>
                      <a:pt x="18114" y="19348"/>
                    </a:lnTo>
                    <a:cubicBezTo>
                      <a:pt x="18114" y="9174"/>
                      <a:pt x="10041" y="668"/>
                      <a:pt x="1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48" name="Google Shape;148;p20"/>
            <p:cNvSpPr/>
            <p:nvPr/>
          </p:nvSpPr>
          <p:spPr>
            <a:xfrm>
              <a:off x="5630400" y="1742400"/>
              <a:ext cx="924900" cy="1224000"/>
            </a:xfrm>
            <a:prstGeom prst="rect">
              <a:avLst/>
            </a:pr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149;p20"/>
            <p:cNvSpPr/>
            <p:nvPr/>
          </p:nvSpPr>
          <p:spPr>
            <a:xfrm>
              <a:off x="4932000" y="2023200"/>
              <a:ext cx="2527200" cy="548700"/>
            </a:xfrm>
            <a:prstGeom prst="rect">
              <a:avLst/>
            </a:prstGeom>
            <a:solidFill>
              <a:schemeClr val="dk1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" name="Google Shape;150;p20"/>
            <p:cNvSpPr/>
            <p:nvPr/>
          </p:nvSpPr>
          <p:spPr>
            <a:xfrm rot="-5400000" flipH="1">
              <a:off x="7319564" y="1123061"/>
              <a:ext cx="917050" cy="2353578"/>
            </a:xfrm>
            <a:custGeom>
              <a:avLst/>
              <a:gdLst/>
              <a:ahLst/>
              <a:cxnLst/>
              <a:rect l="l" t="t" r="r" b="b"/>
              <a:pathLst>
                <a:path w="7006" h="17981" extrusionOk="0">
                  <a:moveTo>
                    <a:pt x="1369" y="1"/>
                  </a:moveTo>
                  <a:lnTo>
                    <a:pt x="1369" y="11943"/>
                  </a:lnTo>
                  <a:lnTo>
                    <a:pt x="1" y="11943"/>
                  </a:lnTo>
                  <a:lnTo>
                    <a:pt x="3503" y="17980"/>
                  </a:lnTo>
                  <a:lnTo>
                    <a:pt x="7006" y="11943"/>
                  </a:lnTo>
                  <a:lnTo>
                    <a:pt x="5605" y="11943"/>
                  </a:lnTo>
                  <a:lnTo>
                    <a:pt x="563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51" name="Google Shape;151;p20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  <p:sp>
        <p:nvSpPr>
          <p:cNvPr id="152" name="Google Shape;152;p20"/>
          <p:cNvSpPr txBox="1">
            <a:spLocks noGrp="1"/>
          </p:cNvSpPr>
          <p:nvPr>
            <p:ph type="title"/>
          </p:nvPr>
        </p:nvSpPr>
        <p:spPr>
          <a:xfrm>
            <a:off x="5191718" y="3343742"/>
            <a:ext cx="19449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None/>
              <a:defRPr sz="2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153" name="Google Shape;153;p20"/>
          <p:cNvSpPr txBox="1">
            <a:spLocks noGrp="1"/>
          </p:cNvSpPr>
          <p:nvPr>
            <p:ph type="subTitle" idx="1"/>
          </p:nvPr>
        </p:nvSpPr>
        <p:spPr>
          <a:xfrm>
            <a:off x="5191718" y="3871457"/>
            <a:ext cx="1944900" cy="46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" name="Google Shape;154;p20"/>
          <p:cNvSpPr txBox="1">
            <a:spLocks noGrp="1"/>
          </p:cNvSpPr>
          <p:nvPr>
            <p:ph type="title" idx="2"/>
          </p:nvPr>
        </p:nvSpPr>
        <p:spPr>
          <a:xfrm>
            <a:off x="2007382" y="3343755"/>
            <a:ext cx="19449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None/>
              <a:defRPr sz="2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155" name="Google Shape;155;p20"/>
          <p:cNvSpPr txBox="1">
            <a:spLocks noGrp="1"/>
          </p:cNvSpPr>
          <p:nvPr>
            <p:ph type="subTitle" idx="3"/>
          </p:nvPr>
        </p:nvSpPr>
        <p:spPr>
          <a:xfrm>
            <a:off x="2007382" y="3871455"/>
            <a:ext cx="1944900" cy="46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" name="Google Shape;156;p20"/>
          <p:cNvSpPr txBox="1">
            <a:spLocks noGrp="1"/>
          </p:cNvSpPr>
          <p:nvPr>
            <p:ph type="title" idx="4"/>
          </p:nvPr>
        </p:nvSpPr>
        <p:spPr>
          <a:xfrm>
            <a:off x="720000" y="539400"/>
            <a:ext cx="7704000" cy="47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oogle Shape;15;p3"/>
          <p:cNvGrpSpPr/>
          <p:nvPr/>
        </p:nvGrpSpPr>
        <p:grpSpPr>
          <a:xfrm>
            <a:off x="-35650" y="226431"/>
            <a:ext cx="4503843" cy="5374418"/>
            <a:chOff x="116750" y="6"/>
            <a:chExt cx="4503843" cy="5374418"/>
          </a:xfrm>
        </p:grpSpPr>
        <p:sp>
          <p:nvSpPr>
            <p:cNvPr id="16" name="Google Shape;16;p3"/>
            <p:cNvSpPr/>
            <p:nvPr/>
          </p:nvSpPr>
          <p:spPr>
            <a:xfrm rot="10800000" flipH="1">
              <a:off x="1896628" y="6"/>
              <a:ext cx="809158" cy="2076716"/>
            </a:xfrm>
            <a:custGeom>
              <a:avLst/>
              <a:gdLst/>
              <a:ahLst/>
              <a:cxnLst/>
              <a:rect l="l" t="t" r="r" b="b"/>
              <a:pathLst>
                <a:path w="7006" h="17981" extrusionOk="0">
                  <a:moveTo>
                    <a:pt x="1369" y="1"/>
                  </a:moveTo>
                  <a:lnTo>
                    <a:pt x="1369" y="11943"/>
                  </a:lnTo>
                  <a:lnTo>
                    <a:pt x="1" y="11943"/>
                  </a:lnTo>
                  <a:lnTo>
                    <a:pt x="3503" y="17980"/>
                  </a:lnTo>
                  <a:lnTo>
                    <a:pt x="7006" y="11943"/>
                  </a:lnTo>
                  <a:lnTo>
                    <a:pt x="5605" y="11943"/>
                  </a:lnTo>
                  <a:lnTo>
                    <a:pt x="563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7;p3"/>
            <p:cNvSpPr/>
            <p:nvPr/>
          </p:nvSpPr>
          <p:spPr>
            <a:xfrm rot="10800000" flipH="1">
              <a:off x="116750" y="1826071"/>
              <a:ext cx="4503843" cy="3548353"/>
            </a:xfrm>
            <a:custGeom>
              <a:avLst/>
              <a:gdLst/>
              <a:ahLst/>
              <a:cxnLst/>
              <a:rect l="l" t="t" r="r" b="b"/>
              <a:pathLst>
                <a:path w="38996" h="30723" extrusionOk="0">
                  <a:moveTo>
                    <a:pt x="1" y="0"/>
                  </a:moveTo>
                  <a:lnTo>
                    <a:pt x="1" y="8907"/>
                  </a:lnTo>
                  <a:cubicBezTo>
                    <a:pt x="201" y="20181"/>
                    <a:pt x="9541" y="29321"/>
                    <a:pt x="20816" y="29321"/>
                  </a:cubicBezTo>
                  <a:lnTo>
                    <a:pt x="32924" y="29255"/>
                  </a:lnTo>
                  <a:lnTo>
                    <a:pt x="32924" y="29255"/>
                  </a:lnTo>
                  <a:lnTo>
                    <a:pt x="32924" y="30722"/>
                  </a:lnTo>
                  <a:lnTo>
                    <a:pt x="38995" y="27220"/>
                  </a:lnTo>
                  <a:lnTo>
                    <a:pt x="32924" y="23717"/>
                  </a:lnTo>
                  <a:lnTo>
                    <a:pt x="32924" y="25085"/>
                  </a:lnTo>
                  <a:lnTo>
                    <a:pt x="20749" y="25051"/>
                  </a:lnTo>
                  <a:cubicBezTo>
                    <a:pt x="11909" y="25051"/>
                    <a:pt x="4504" y="17846"/>
                    <a:pt x="4237" y="8973"/>
                  </a:cubicBezTo>
                  <a:lnTo>
                    <a:pt x="4237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8" name="Google Shape;18;p3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23064"/>
            <a:ext cx="9144000" cy="51865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3"/>
          <p:cNvSpPr txBox="1">
            <a:spLocks noGrp="1"/>
          </p:cNvSpPr>
          <p:nvPr>
            <p:ph type="title"/>
          </p:nvPr>
        </p:nvSpPr>
        <p:spPr>
          <a:xfrm>
            <a:off x="4886718" y="2037811"/>
            <a:ext cx="3520200" cy="1541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3600"/>
              <a:buNone/>
              <a:defRPr sz="45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20" name="Google Shape;20;p3"/>
          <p:cNvSpPr txBox="1">
            <a:spLocks noGrp="1"/>
          </p:cNvSpPr>
          <p:nvPr>
            <p:ph type="title" idx="2" hasCustomPrompt="1"/>
          </p:nvPr>
        </p:nvSpPr>
        <p:spPr>
          <a:xfrm>
            <a:off x="4886724" y="1056342"/>
            <a:ext cx="15042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6000"/>
              <a:buNone/>
              <a:defRPr sz="65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9pPr>
          </a:lstStyle>
          <a:p>
            <a:r>
              <a:t>xx%</a:t>
            </a:r>
          </a:p>
        </p:txBody>
      </p:sp>
      <p:sp>
        <p:nvSpPr>
          <p:cNvPr id="21" name="Google Shape;21;p3"/>
          <p:cNvSpPr txBox="1">
            <a:spLocks noGrp="1"/>
          </p:cNvSpPr>
          <p:nvPr>
            <p:ph type="subTitle" idx="1"/>
          </p:nvPr>
        </p:nvSpPr>
        <p:spPr>
          <a:xfrm>
            <a:off x="4886718" y="3579336"/>
            <a:ext cx="3520200" cy="408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CUSTOM_6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p21"/>
          <p:cNvSpPr txBox="1">
            <a:spLocks noGrp="1"/>
          </p:cNvSpPr>
          <p:nvPr>
            <p:ph type="title"/>
          </p:nvPr>
        </p:nvSpPr>
        <p:spPr>
          <a:xfrm>
            <a:off x="720000" y="539400"/>
            <a:ext cx="7704000" cy="47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159" name="Google Shape;159;p21"/>
          <p:cNvSpPr txBox="1">
            <a:spLocks noGrp="1"/>
          </p:cNvSpPr>
          <p:nvPr>
            <p:ph type="title" idx="2"/>
          </p:nvPr>
        </p:nvSpPr>
        <p:spPr>
          <a:xfrm>
            <a:off x="3599548" y="3358713"/>
            <a:ext cx="19449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500"/>
              <a:buNone/>
              <a:defRPr sz="2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160" name="Google Shape;160;p21"/>
          <p:cNvSpPr txBox="1">
            <a:spLocks noGrp="1"/>
          </p:cNvSpPr>
          <p:nvPr>
            <p:ph type="subTitle" idx="1"/>
          </p:nvPr>
        </p:nvSpPr>
        <p:spPr>
          <a:xfrm>
            <a:off x="3599552" y="3886430"/>
            <a:ext cx="1944900" cy="44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" name="Google Shape;161;p21"/>
          <p:cNvSpPr txBox="1">
            <a:spLocks noGrp="1"/>
          </p:cNvSpPr>
          <p:nvPr>
            <p:ph type="title" idx="3"/>
          </p:nvPr>
        </p:nvSpPr>
        <p:spPr>
          <a:xfrm>
            <a:off x="720000" y="2668525"/>
            <a:ext cx="19449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500"/>
              <a:buNone/>
              <a:defRPr sz="2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162" name="Google Shape;162;p21"/>
          <p:cNvSpPr txBox="1">
            <a:spLocks noGrp="1"/>
          </p:cNvSpPr>
          <p:nvPr>
            <p:ph type="subTitle" idx="4"/>
          </p:nvPr>
        </p:nvSpPr>
        <p:spPr>
          <a:xfrm>
            <a:off x="720025" y="3196225"/>
            <a:ext cx="1944900" cy="44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" name="Google Shape;163;p21"/>
          <p:cNvSpPr txBox="1">
            <a:spLocks noGrp="1"/>
          </p:cNvSpPr>
          <p:nvPr>
            <p:ph type="title" idx="5"/>
          </p:nvPr>
        </p:nvSpPr>
        <p:spPr>
          <a:xfrm>
            <a:off x="6486000" y="2668525"/>
            <a:ext cx="19449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500"/>
              <a:buNone/>
              <a:defRPr sz="2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164" name="Google Shape;164;p21"/>
          <p:cNvSpPr txBox="1">
            <a:spLocks noGrp="1"/>
          </p:cNvSpPr>
          <p:nvPr>
            <p:ph type="subTitle" idx="6"/>
          </p:nvPr>
        </p:nvSpPr>
        <p:spPr>
          <a:xfrm>
            <a:off x="6486007" y="3196225"/>
            <a:ext cx="1944900" cy="44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5" name="Google Shape;165;p21"/>
          <p:cNvGrpSpPr/>
          <p:nvPr/>
        </p:nvGrpSpPr>
        <p:grpSpPr>
          <a:xfrm>
            <a:off x="-152" y="4568881"/>
            <a:ext cx="8857515" cy="436369"/>
            <a:chOff x="-259329" y="4569231"/>
            <a:chExt cx="8857515" cy="436369"/>
          </a:xfrm>
        </p:grpSpPr>
        <p:sp>
          <p:nvSpPr>
            <p:cNvPr id="166" name="Google Shape;166;p21"/>
            <p:cNvSpPr/>
            <p:nvPr/>
          </p:nvSpPr>
          <p:spPr>
            <a:xfrm rot="-5400000">
              <a:off x="7817646" y="4225060"/>
              <a:ext cx="436369" cy="1124712"/>
            </a:xfrm>
            <a:custGeom>
              <a:avLst/>
              <a:gdLst/>
              <a:ahLst/>
              <a:cxnLst/>
              <a:rect l="l" t="t" r="r" b="b"/>
              <a:pathLst>
                <a:path w="7006" h="17981" extrusionOk="0">
                  <a:moveTo>
                    <a:pt x="1369" y="1"/>
                  </a:moveTo>
                  <a:lnTo>
                    <a:pt x="1369" y="11943"/>
                  </a:lnTo>
                  <a:lnTo>
                    <a:pt x="1" y="11943"/>
                  </a:lnTo>
                  <a:lnTo>
                    <a:pt x="3503" y="17980"/>
                  </a:lnTo>
                  <a:lnTo>
                    <a:pt x="7006" y="11943"/>
                  </a:lnTo>
                  <a:lnTo>
                    <a:pt x="5605" y="11943"/>
                  </a:lnTo>
                  <a:lnTo>
                    <a:pt x="563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" name="Google Shape;167;p21"/>
            <p:cNvSpPr/>
            <p:nvPr/>
          </p:nvSpPr>
          <p:spPr>
            <a:xfrm flipH="1">
              <a:off x="-259329" y="4654525"/>
              <a:ext cx="7809000" cy="2652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68" name="Google Shape;168;p21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0" y="-21500"/>
            <a:ext cx="9144000" cy="5186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1">
  <p:cSld name="CUSTOM_6_1"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22"/>
          <p:cNvSpPr txBox="1">
            <a:spLocks noGrp="1"/>
          </p:cNvSpPr>
          <p:nvPr>
            <p:ph type="title"/>
          </p:nvPr>
        </p:nvSpPr>
        <p:spPr>
          <a:xfrm>
            <a:off x="3599548" y="2941385"/>
            <a:ext cx="19449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500"/>
              <a:buNone/>
              <a:defRPr sz="2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171" name="Google Shape;171;p22"/>
          <p:cNvSpPr txBox="1">
            <a:spLocks noGrp="1"/>
          </p:cNvSpPr>
          <p:nvPr>
            <p:ph type="subTitle" idx="1"/>
          </p:nvPr>
        </p:nvSpPr>
        <p:spPr>
          <a:xfrm>
            <a:off x="3599552" y="3469104"/>
            <a:ext cx="1944900" cy="677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" name="Google Shape;172;p22"/>
          <p:cNvSpPr txBox="1">
            <a:spLocks noGrp="1"/>
          </p:cNvSpPr>
          <p:nvPr>
            <p:ph type="title" idx="2"/>
          </p:nvPr>
        </p:nvSpPr>
        <p:spPr>
          <a:xfrm>
            <a:off x="720000" y="2941397"/>
            <a:ext cx="19449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500"/>
              <a:buNone/>
              <a:defRPr sz="2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173" name="Google Shape;173;p22"/>
          <p:cNvSpPr txBox="1">
            <a:spLocks noGrp="1"/>
          </p:cNvSpPr>
          <p:nvPr>
            <p:ph type="subTitle" idx="3"/>
          </p:nvPr>
        </p:nvSpPr>
        <p:spPr>
          <a:xfrm>
            <a:off x="720025" y="3469097"/>
            <a:ext cx="1944900" cy="677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" name="Google Shape;174;p22"/>
          <p:cNvSpPr txBox="1">
            <a:spLocks noGrp="1"/>
          </p:cNvSpPr>
          <p:nvPr>
            <p:ph type="title" idx="4"/>
          </p:nvPr>
        </p:nvSpPr>
        <p:spPr>
          <a:xfrm>
            <a:off x="6486000" y="2941397"/>
            <a:ext cx="19449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500"/>
              <a:buNone/>
              <a:defRPr sz="2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175" name="Google Shape;175;p22"/>
          <p:cNvSpPr txBox="1">
            <a:spLocks noGrp="1"/>
          </p:cNvSpPr>
          <p:nvPr>
            <p:ph type="subTitle" idx="5"/>
          </p:nvPr>
        </p:nvSpPr>
        <p:spPr>
          <a:xfrm>
            <a:off x="6486007" y="3469097"/>
            <a:ext cx="1944900" cy="677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" name="Google Shape;176;p22"/>
          <p:cNvSpPr txBox="1">
            <a:spLocks noGrp="1"/>
          </p:cNvSpPr>
          <p:nvPr>
            <p:ph type="title" idx="6"/>
          </p:nvPr>
        </p:nvSpPr>
        <p:spPr>
          <a:xfrm>
            <a:off x="720000" y="539400"/>
            <a:ext cx="7704000" cy="47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grpSp>
        <p:nvGrpSpPr>
          <p:cNvPr id="177" name="Google Shape;177;p22"/>
          <p:cNvGrpSpPr/>
          <p:nvPr/>
        </p:nvGrpSpPr>
        <p:grpSpPr>
          <a:xfrm rot="-5400000" flipH="1">
            <a:off x="-873049" y="1057522"/>
            <a:ext cx="5098113" cy="2956468"/>
            <a:chOff x="3968860" y="656575"/>
            <a:chExt cx="5098113" cy="2956468"/>
          </a:xfrm>
        </p:grpSpPr>
        <p:sp>
          <p:nvSpPr>
            <p:cNvPr id="178" name="Google Shape;178;p22"/>
            <p:cNvSpPr/>
            <p:nvPr/>
          </p:nvSpPr>
          <p:spPr>
            <a:xfrm>
              <a:off x="7794825" y="656575"/>
              <a:ext cx="1272148" cy="2956468"/>
            </a:xfrm>
            <a:custGeom>
              <a:avLst/>
              <a:gdLst/>
              <a:ahLst/>
              <a:cxnLst/>
              <a:rect l="l" t="t" r="r" b="b"/>
              <a:pathLst>
                <a:path w="19349" h="44967" extrusionOk="0">
                  <a:moveTo>
                    <a:pt x="1" y="1"/>
                  </a:moveTo>
                  <a:lnTo>
                    <a:pt x="1" y="4004"/>
                  </a:lnTo>
                  <a:cubicBezTo>
                    <a:pt x="7873" y="4671"/>
                    <a:pt x="14144" y="11409"/>
                    <a:pt x="14144" y="19348"/>
                  </a:cubicBezTo>
                  <a:lnTo>
                    <a:pt x="14144" y="39329"/>
                  </a:lnTo>
                  <a:lnTo>
                    <a:pt x="12843" y="39329"/>
                  </a:lnTo>
                  <a:lnTo>
                    <a:pt x="16079" y="44966"/>
                  </a:lnTo>
                  <a:lnTo>
                    <a:pt x="19348" y="39329"/>
                  </a:lnTo>
                  <a:lnTo>
                    <a:pt x="18047" y="39329"/>
                  </a:lnTo>
                  <a:lnTo>
                    <a:pt x="18114" y="19348"/>
                  </a:lnTo>
                  <a:cubicBezTo>
                    <a:pt x="18114" y="9174"/>
                    <a:pt x="10041" y="668"/>
                    <a:pt x="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" name="Google Shape;179;p22"/>
            <p:cNvSpPr/>
            <p:nvPr/>
          </p:nvSpPr>
          <p:spPr>
            <a:xfrm>
              <a:off x="3968860" y="656577"/>
              <a:ext cx="3840300" cy="2628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80" name="Google Shape;180;p22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CUSTOM_5"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Google Shape;182;p23"/>
          <p:cNvSpPr txBox="1">
            <a:spLocks noGrp="1"/>
          </p:cNvSpPr>
          <p:nvPr>
            <p:ph type="title"/>
          </p:nvPr>
        </p:nvSpPr>
        <p:spPr>
          <a:xfrm>
            <a:off x="865488" y="1509084"/>
            <a:ext cx="1978200" cy="5277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500"/>
              <a:buNone/>
              <a:defRPr sz="2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183" name="Google Shape;183;p23"/>
          <p:cNvSpPr txBox="1">
            <a:spLocks noGrp="1"/>
          </p:cNvSpPr>
          <p:nvPr>
            <p:ph type="subTitle" idx="1"/>
          </p:nvPr>
        </p:nvSpPr>
        <p:spPr>
          <a:xfrm>
            <a:off x="865488" y="2043311"/>
            <a:ext cx="1978200" cy="44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" name="Google Shape;184;p23"/>
          <p:cNvSpPr txBox="1">
            <a:spLocks noGrp="1"/>
          </p:cNvSpPr>
          <p:nvPr>
            <p:ph type="title" idx="2"/>
          </p:nvPr>
        </p:nvSpPr>
        <p:spPr>
          <a:xfrm>
            <a:off x="6300295" y="1509084"/>
            <a:ext cx="19782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500"/>
              <a:buNone/>
              <a:defRPr sz="2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185" name="Google Shape;185;p23"/>
          <p:cNvSpPr txBox="1">
            <a:spLocks noGrp="1"/>
          </p:cNvSpPr>
          <p:nvPr>
            <p:ph type="subTitle" idx="3"/>
          </p:nvPr>
        </p:nvSpPr>
        <p:spPr>
          <a:xfrm>
            <a:off x="6300288" y="2043311"/>
            <a:ext cx="1978200" cy="44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" name="Google Shape;186;p23"/>
          <p:cNvSpPr txBox="1">
            <a:spLocks noGrp="1"/>
          </p:cNvSpPr>
          <p:nvPr>
            <p:ph type="title" idx="4"/>
          </p:nvPr>
        </p:nvSpPr>
        <p:spPr>
          <a:xfrm>
            <a:off x="865488" y="3090484"/>
            <a:ext cx="19782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500"/>
              <a:buNone/>
              <a:defRPr sz="2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187" name="Google Shape;187;p23"/>
          <p:cNvSpPr txBox="1">
            <a:spLocks noGrp="1"/>
          </p:cNvSpPr>
          <p:nvPr>
            <p:ph type="subTitle" idx="5"/>
          </p:nvPr>
        </p:nvSpPr>
        <p:spPr>
          <a:xfrm>
            <a:off x="865488" y="3624711"/>
            <a:ext cx="1978200" cy="44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" name="Google Shape;188;p23"/>
          <p:cNvSpPr txBox="1">
            <a:spLocks noGrp="1"/>
          </p:cNvSpPr>
          <p:nvPr>
            <p:ph type="title" idx="6"/>
          </p:nvPr>
        </p:nvSpPr>
        <p:spPr>
          <a:xfrm>
            <a:off x="6300295" y="3090484"/>
            <a:ext cx="19782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2500"/>
              <a:buNone/>
              <a:defRPr sz="2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189" name="Google Shape;189;p23"/>
          <p:cNvSpPr txBox="1">
            <a:spLocks noGrp="1"/>
          </p:cNvSpPr>
          <p:nvPr>
            <p:ph type="subTitle" idx="7"/>
          </p:nvPr>
        </p:nvSpPr>
        <p:spPr>
          <a:xfrm>
            <a:off x="6300288" y="3624711"/>
            <a:ext cx="1978200" cy="44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" name="Google Shape;190;p23"/>
          <p:cNvSpPr txBox="1">
            <a:spLocks noGrp="1"/>
          </p:cNvSpPr>
          <p:nvPr>
            <p:ph type="title" idx="8"/>
          </p:nvPr>
        </p:nvSpPr>
        <p:spPr>
          <a:xfrm>
            <a:off x="720000" y="539400"/>
            <a:ext cx="7704000" cy="47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grpSp>
        <p:nvGrpSpPr>
          <p:cNvPr id="191" name="Google Shape;191;p23"/>
          <p:cNvGrpSpPr/>
          <p:nvPr/>
        </p:nvGrpSpPr>
        <p:grpSpPr>
          <a:xfrm rot="10800000" flipH="1">
            <a:off x="133204" y="-1489513"/>
            <a:ext cx="2598433" cy="6441586"/>
            <a:chOff x="133204" y="143914"/>
            <a:chExt cx="2598433" cy="6441586"/>
          </a:xfrm>
        </p:grpSpPr>
        <p:grpSp>
          <p:nvGrpSpPr>
            <p:cNvPr id="192" name="Google Shape;192;p23"/>
            <p:cNvGrpSpPr/>
            <p:nvPr/>
          </p:nvGrpSpPr>
          <p:grpSpPr>
            <a:xfrm rot="-5400000">
              <a:off x="-2879245" y="3156362"/>
              <a:ext cx="6441586" cy="416688"/>
              <a:chOff x="1852364" y="4569231"/>
              <a:chExt cx="6745822" cy="436369"/>
            </a:xfrm>
          </p:grpSpPr>
          <p:sp>
            <p:nvSpPr>
              <p:cNvPr id="193" name="Google Shape;193;p23"/>
              <p:cNvSpPr/>
              <p:nvPr/>
            </p:nvSpPr>
            <p:spPr>
              <a:xfrm rot="-5400000">
                <a:off x="7817646" y="4225060"/>
                <a:ext cx="436369" cy="1124712"/>
              </a:xfrm>
              <a:custGeom>
                <a:avLst/>
                <a:gdLst/>
                <a:ahLst/>
                <a:cxnLst/>
                <a:rect l="l" t="t" r="r" b="b"/>
                <a:pathLst>
                  <a:path w="7006" h="17981" extrusionOk="0">
                    <a:moveTo>
                      <a:pt x="1369" y="1"/>
                    </a:moveTo>
                    <a:lnTo>
                      <a:pt x="1369" y="11943"/>
                    </a:lnTo>
                    <a:lnTo>
                      <a:pt x="1" y="11943"/>
                    </a:lnTo>
                    <a:lnTo>
                      <a:pt x="3503" y="17980"/>
                    </a:lnTo>
                    <a:lnTo>
                      <a:pt x="7006" y="11943"/>
                    </a:lnTo>
                    <a:lnTo>
                      <a:pt x="5605" y="11943"/>
                    </a:lnTo>
                    <a:lnTo>
                      <a:pt x="5638" y="1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4" name="Google Shape;194;p23"/>
              <p:cNvSpPr/>
              <p:nvPr/>
            </p:nvSpPr>
            <p:spPr>
              <a:xfrm flipH="1">
                <a:off x="1852364" y="4654524"/>
                <a:ext cx="5697300" cy="2652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95" name="Google Shape;195;p23"/>
            <p:cNvSpPr/>
            <p:nvPr/>
          </p:nvSpPr>
          <p:spPr>
            <a:xfrm rot="10800000" flipH="1">
              <a:off x="197774" y="4568893"/>
              <a:ext cx="2533863" cy="1996304"/>
            </a:xfrm>
            <a:custGeom>
              <a:avLst/>
              <a:gdLst/>
              <a:ahLst/>
              <a:cxnLst/>
              <a:rect l="l" t="t" r="r" b="b"/>
              <a:pathLst>
                <a:path w="38996" h="30723" extrusionOk="0">
                  <a:moveTo>
                    <a:pt x="1" y="0"/>
                  </a:moveTo>
                  <a:lnTo>
                    <a:pt x="1" y="8907"/>
                  </a:lnTo>
                  <a:cubicBezTo>
                    <a:pt x="201" y="20181"/>
                    <a:pt x="9541" y="29321"/>
                    <a:pt x="20816" y="29321"/>
                  </a:cubicBezTo>
                  <a:lnTo>
                    <a:pt x="32924" y="29255"/>
                  </a:lnTo>
                  <a:lnTo>
                    <a:pt x="32924" y="29255"/>
                  </a:lnTo>
                  <a:lnTo>
                    <a:pt x="32924" y="30722"/>
                  </a:lnTo>
                  <a:lnTo>
                    <a:pt x="38995" y="27220"/>
                  </a:lnTo>
                  <a:lnTo>
                    <a:pt x="32924" y="23717"/>
                  </a:lnTo>
                  <a:lnTo>
                    <a:pt x="32924" y="25085"/>
                  </a:lnTo>
                  <a:lnTo>
                    <a:pt x="20749" y="25051"/>
                  </a:lnTo>
                  <a:cubicBezTo>
                    <a:pt x="11909" y="25051"/>
                    <a:pt x="4504" y="17846"/>
                    <a:pt x="4237" y="8973"/>
                  </a:cubicBezTo>
                  <a:lnTo>
                    <a:pt x="4237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96" name="Google Shape;196;p23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CUSTOM_7"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8" name="Google Shape;198;p24"/>
          <p:cNvGrpSpPr/>
          <p:nvPr/>
        </p:nvGrpSpPr>
        <p:grpSpPr>
          <a:xfrm rot="5400000">
            <a:off x="2467455" y="-3796817"/>
            <a:ext cx="2598433" cy="10307483"/>
            <a:chOff x="133204" y="-3742286"/>
            <a:chExt cx="2598433" cy="10307483"/>
          </a:xfrm>
        </p:grpSpPr>
        <p:grpSp>
          <p:nvGrpSpPr>
            <p:cNvPr id="199" name="Google Shape;199;p24"/>
            <p:cNvGrpSpPr/>
            <p:nvPr/>
          </p:nvGrpSpPr>
          <p:grpSpPr>
            <a:xfrm rot="-5400000">
              <a:off x="-4171801" y="562718"/>
              <a:ext cx="9026697" cy="416688"/>
              <a:chOff x="3214903" y="4569231"/>
              <a:chExt cx="9453029" cy="436369"/>
            </a:xfrm>
          </p:grpSpPr>
          <p:sp>
            <p:nvSpPr>
              <p:cNvPr id="200" name="Google Shape;200;p24"/>
              <p:cNvSpPr/>
              <p:nvPr/>
            </p:nvSpPr>
            <p:spPr>
              <a:xfrm rot="-5400000">
                <a:off x="11887392" y="4225060"/>
                <a:ext cx="436369" cy="1124712"/>
              </a:xfrm>
              <a:custGeom>
                <a:avLst/>
                <a:gdLst/>
                <a:ahLst/>
                <a:cxnLst/>
                <a:rect l="l" t="t" r="r" b="b"/>
                <a:pathLst>
                  <a:path w="7006" h="17981" extrusionOk="0">
                    <a:moveTo>
                      <a:pt x="1369" y="1"/>
                    </a:moveTo>
                    <a:lnTo>
                      <a:pt x="1369" y="11943"/>
                    </a:lnTo>
                    <a:lnTo>
                      <a:pt x="1" y="11943"/>
                    </a:lnTo>
                    <a:lnTo>
                      <a:pt x="3503" y="17980"/>
                    </a:lnTo>
                    <a:lnTo>
                      <a:pt x="7006" y="11943"/>
                    </a:lnTo>
                    <a:lnTo>
                      <a:pt x="5605" y="11943"/>
                    </a:lnTo>
                    <a:lnTo>
                      <a:pt x="5638" y="1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1" name="Google Shape;201;p24"/>
              <p:cNvSpPr/>
              <p:nvPr/>
            </p:nvSpPr>
            <p:spPr>
              <a:xfrm flipH="1">
                <a:off x="3214903" y="4654519"/>
                <a:ext cx="8404500" cy="2652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02" name="Google Shape;202;p24"/>
            <p:cNvSpPr/>
            <p:nvPr/>
          </p:nvSpPr>
          <p:spPr>
            <a:xfrm rot="10800000" flipH="1">
              <a:off x="197774" y="4568893"/>
              <a:ext cx="2533863" cy="1996304"/>
            </a:xfrm>
            <a:custGeom>
              <a:avLst/>
              <a:gdLst/>
              <a:ahLst/>
              <a:cxnLst/>
              <a:rect l="l" t="t" r="r" b="b"/>
              <a:pathLst>
                <a:path w="38996" h="30723" extrusionOk="0">
                  <a:moveTo>
                    <a:pt x="1" y="0"/>
                  </a:moveTo>
                  <a:lnTo>
                    <a:pt x="1" y="8907"/>
                  </a:lnTo>
                  <a:cubicBezTo>
                    <a:pt x="201" y="20181"/>
                    <a:pt x="9541" y="29321"/>
                    <a:pt x="20816" y="29321"/>
                  </a:cubicBezTo>
                  <a:lnTo>
                    <a:pt x="32924" y="29255"/>
                  </a:lnTo>
                  <a:lnTo>
                    <a:pt x="32924" y="29255"/>
                  </a:lnTo>
                  <a:lnTo>
                    <a:pt x="32924" y="30722"/>
                  </a:lnTo>
                  <a:lnTo>
                    <a:pt x="38995" y="27220"/>
                  </a:lnTo>
                  <a:lnTo>
                    <a:pt x="32924" y="23717"/>
                  </a:lnTo>
                  <a:lnTo>
                    <a:pt x="32924" y="25085"/>
                  </a:lnTo>
                  <a:lnTo>
                    <a:pt x="20749" y="25051"/>
                  </a:lnTo>
                  <a:cubicBezTo>
                    <a:pt x="11909" y="25051"/>
                    <a:pt x="4504" y="17846"/>
                    <a:pt x="4237" y="8973"/>
                  </a:cubicBezTo>
                  <a:lnTo>
                    <a:pt x="4237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3" name="Google Shape;203;p24"/>
          <p:cNvSpPr txBox="1">
            <a:spLocks noGrp="1"/>
          </p:cNvSpPr>
          <p:nvPr>
            <p:ph type="title"/>
          </p:nvPr>
        </p:nvSpPr>
        <p:spPr>
          <a:xfrm>
            <a:off x="2174175" y="1286588"/>
            <a:ext cx="19860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2500"/>
              <a:buNone/>
              <a:defRPr sz="2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204" name="Google Shape;204;p24"/>
          <p:cNvSpPr txBox="1">
            <a:spLocks noGrp="1"/>
          </p:cNvSpPr>
          <p:nvPr>
            <p:ph type="subTitle" idx="1"/>
          </p:nvPr>
        </p:nvSpPr>
        <p:spPr>
          <a:xfrm>
            <a:off x="2174175" y="1814288"/>
            <a:ext cx="1986000" cy="46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5" name="Google Shape;205;p24"/>
          <p:cNvSpPr txBox="1">
            <a:spLocks noGrp="1"/>
          </p:cNvSpPr>
          <p:nvPr>
            <p:ph type="title" idx="2"/>
          </p:nvPr>
        </p:nvSpPr>
        <p:spPr>
          <a:xfrm>
            <a:off x="6145098" y="1286600"/>
            <a:ext cx="19860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2500"/>
              <a:buNone/>
              <a:defRPr sz="2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206" name="Google Shape;206;p24"/>
          <p:cNvSpPr txBox="1">
            <a:spLocks noGrp="1"/>
          </p:cNvSpPr>
          <p:nvPr>
            <p:ph type="subTitle" idx="3"/>
          </p:nvPr>
        </p:nvSpPr>
        <p:spPr>
          <a:xfrm>
            <a:off x="6145150" y="1814300"/>
            <a:ext cx="1986000" cy="46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7" name="Google Shape;207;p24"/>
          <p:cNvSpPr txBox="1">
            <a:spLocks noGrp="1"/>
          </p:cNvSpPr>
          <p:nvPr>
            <p:ph type="title" idx="4"/>
          </p:nvPr>
        </p:nvSpPr>
        <p:spPr>
          <a:xfrm>
            <a:off x="2174175" y="3611400"/>
            <a:ext cx="19860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2500"/>
              <a:buNone/>
              <a:defRPr sz="2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208" name="Google Shape;208;p24"/>
          <p:cNvSpPr txBox="1">
            <a:spLocks noGrp="1"/>
          </p:cNvSpPr>
          <p:nvPr>
            <p:ph type="subTitle" idx="5"/>
          </p:nvPr>
        </p:nvSpPr>
        <p:spPr>
          <a:xfrm>
            <a:off x="2174175" y="4139100"/>
            <a:ext cx="1986000" cy="46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9" name="Google Shape;209;p24"/>
          <p:cNvSpPr txBox="1">
            <a:spLocks noGrp="1"/>
          </p:cNvSpPr>
          <p:nvPr>
            <p:ph type="title" idx="6"/>
          </p:nvPr>
        </p:nvSpPr>
        <p:spPr>
          <a:xfrm>
            <a:off x="6145098" y="3611400"/>
            <a:ext cx="19860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2500"/>
              <a:buNone/>
              <a:defRPr sz="2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210" name="Google Shape;210;p24"/>
          <p:cNvSpPr txBox="1">
            <a:spLocks noGrp="1"/>
          </p:cNvSpPr>
          <p:nvPr>
            <p:ph type="subTitle" idx="7"/>
          </p:nvPr>
        </p:nvSpPr>
        <p:spPr>
          <a:xfrm>
            <a:off x="6145097" y="4139100"/>
            <a:ext cx="1986000" cy="46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1" name="Google Shape;211;p24"/>
          <p:cNvSpPr txBox="1">
            <a:spLocks noGrp="1"/>
          </p:cNvSpPr>
          <p:nvPr>
            <p:ph type="title" idx="8"/>
          </p:nvPr>
        </p:nvSpPr>
        <p:spPr>
          <a:xfrm>
            <a:off x="2174177" y="2449000"/>
            <a:ext cx="19860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2500"/>
              <a:buNone/>
              <a:defRPr sz="2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212" name="Google Shape;212;p24"/>
          <p:cNvSpPr txBox="1">
            <a:spLocks noGrp="1"/>
          </p:cNvSpPr>
          <p:nvPr>
            <p:ph type="subTitle" idx="9"/>
          </p:nvPr>
        </p:nvSpPr>
        <p:spPr>
          <a:xfrm>
            <a:off x="2174175" y="2976700"/>
            <a:ext cx="1986000" cy="46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" name="Google Shape;213;p24"/>
          <p:cNvSpPr txBox="1">
            <a:spLocks noGrp="1"/>
          </p:cNvSpPr>
          <p:nvPr>
            <p:ph type="title" idx="13"/>
          </p:nvPr>
        </p:nvSpPr>
        <p:spPr>
          <a:xfrm>
            <a:off x="6145102" y="2449000"/>
            <a:ext cx="19860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2500"/>
              <a:buNone/>
              <a:defRPr sz="2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2500"/>
            </a:lvl9pPr>
          </a:lstStyle>
          <a:p>
            <a:endParaRPr/>
          </a:p>
        </p:txBody>
      </p:sp>
      <p:sp>
        <p:nvSpPr>
          <p:cNvPr id="214" name="Google Shape;214;p24"/>
          <p:cNvSpPr txBox="1">
            <a:spLocks noGrp="1"/>
          </p:cNvSpPr>
          <p:nvPr>
            <p:ph type="subTitle" idx="14"/>
          </p:nvPr>
        </p:nvSpPr>
        <p:spPr>
          <a:xfrm>
            <a:off x="6145100" y="2976700"/>
            <a:ext cx="1986000" cy="46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5" name="Google Shape;215;p24"/>
          <p:cNvSpPr txBox="1">
            <a:spLocks noGrp="1"/>
          </p:cNvSpPr>
          <p:nvPr>
            <p:ph type="title" idx="15"/>
          </p:nvPr>
        </p:nvSpPr>
        <p:spPr>
          <a:xfrm>
            <a:off x="720000" y="539400"/>
            <a:ext cx="7704000" cy="47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pic>
        <p:nvPicPr>
          <p:cNvPr id="216" name="Google Shape;216;p24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CUSTOM_11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8" name="Google Shape;218;p25"/>
          <p:cNvGrpSpPr/>
          <p:nvPr/>
        </p:nvGrpSpPr>
        <p:grpSpPr>
          <a:xfrm>
            <a:off x="-1899240" y="567789"/>
            <a:ext cx="10642431" cy="4553639"/>
            <a:chOff x="-1899240" y="157989"/>
            <a:chExt cx="10642431" cy="4553639"/>
          </a:xfrm>
        </p:grpSpPr>
        <p:grpSp>
          <p:nvGrpSpPr>
            <p:cNvPr id="219" name="Google Shape;219;p25"/>
            <p:cNvGrpSpPr/>
            <p:nvPr/>
          </p:nvGrpSpPr>
          <p:grpSpPr>
            <a:xfrm>
              <a:off x="-145720" y="4215249"/>
              <a:ext cx="8888911" cy="416688"/>
              <a:chOff x="-710548" y="4569231"/>
              <a:chExt cx="9308734" cy="436369"/>
            </a:xfrm>
          </p:grpSpPr>
          <p:sp>
            <p:nvSpPr>
              <p:cNvPr id="220" name="Google Shape;220;p25"/>
              <p:cNvSpPr/>
              <p:nvPr/>
            </p:nvSpPr>
            <p:spPr>
              <a:xfrm rot="-5400000">
                <a:off x="7817646" y="4225060"/>
                <a:ext cx="436369" cy="1124712"/>
              </a:xfrm>
              <a:custGeom>
                <a:avLst/>
                <a:gdLst/>
                <a:ahLst/>
                <a:cxnLst/>
                <a:rect l="l" t="t" r="r" b="b"/>
                <a:pathLst>
                  <a:path w="7006" h="17981" extrusionOk="0">
                    <a:moveTo>
                      <a:pt x="1369" y="1"/>
                    </a:moveTo>
                    <a:lnTo>
                      <a:pt x="1369" y="11943"/>
                    </a:lnTo>
                    <a:lnTo>
                      <a:pt x="1" y="11943"/>
                    </a:lnTo>
                    <a:lnTo>
                      <a:pt x="3503" y="17980"/>
                    </a:lnTo>
                    <a:lnTo>
                      <a:pt x="7006" y="11943"/>
                    </a:lnTo>
                    <a:lnTo>
                      <a:pt x="5605" y="11943"/>
                    </a:lnTo>
                    <a:lnTo>
                      <a:pt x="5638" y="1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1" name="Google Shape;221;p25"/>
              <p:cNvSpPr/>
              <p:nvPr/>
            </p:nvSpPr>
            <p:spPr>
              <a:xfrm flipH="1">
                <a:off x="-710548" y="4654503"/>
                <a:ext cx="8260200" cy="2652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22" name="Google Shape;222;p25"/>
            <p:cNvGrpSpPr/>
            <p:nvPr/>
          </p:nvGrpSpPr>
          <p:grpSpPr>
            <a:xfrm rot="5400000" flipH="1">
              <a:off x="-1094983" y="1377087"/>
              <a:ext cx="2865662" cy="427467"/>
              <a:chOff x="5672848" y="4569231"/>
              <a:chExt cx="2925339" cy="436369"/>
            </a:xfrm>
          </p:grpSpPr>
          <p:sp>
            <p:nvSpPr>
              <p:cNvPr id="223" name="Google Shape;223;p25"/>
              <p:cNvSpPr/>
              <p:nvPr/>
            </p:nvSpPr>
            <p:spPr>
              <a:xfrm rot="-5400000">
                <a:off x="7817646" y="4225060"/>
                <a:ext cx="436369" cy="1124712"/>
              </a:xfrm>
              <a:custGeom>
                <a:avLst/>
                <a:gdLst/>
                <a:ahLst/>
                <a:cxnLst/>
                <a:rect l="l" t="t" r="r" b="b"/>
                <a:pathLst>
                  <a:path w="7006" h="17981" extrusionOk="0">
                    <a:moveTo>
                      <a:pt x="1369" y="1"/>
                    </a:moveTo>
                    <a:lnTo>
                      <a:pt x="1369" y="11943"/>
                    </a:lnTo>
                    <a:lnTo>
                      <a:pt x="1" y="11943"/>
                    </a:lnTo>
                    <a:lnTo>
                      <a:pt x="3503" y="17980"/>
                    </a:lnTo>
                    <a:lnTo>
                      <a:pt x="7006" y="11943"/>
                    </a:lnTo>
                    <a:lnTo>
                      <a:pt x="5605" y="11943"/>
                    </a:lnTo>
                    <a:lnTo>
                      <a:pt x="5638" y="1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4" name="Google Shape;224;p25"/>
              <p:cNvSpPr/>
              <p:nvPr/>
            </p:nvSpPr>
            <p:spPr>
              <a:xfrm flipH="1">
                <a:off x="5672848" y="4654499"/>
                <a:ext cx="1876800" cy="2652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25" name="Google Shape;225;p25"/>
            <p:cNvSpPr/>
            <p:nvPr/>
          </p:nvSpPr>
          <p:spPr>
            <a:xfrm flipH="1">
              <a:off x="-1899240" y="2847050"/>
              <a:ext cx="2366570" cy="1864579"/>
            </a:xfrm>
            <a:custGeom>
              <a:avLst/>
              <a:gdLst/>
              <a:ahLst/>
              <a:cxnLst/>
              <a:rect l="l" t="t" r="r" b="b"/>
              <a:pathLst>
                <a:path w="38996" h="30723" extrusionOk="0">
                  <a:moveTo>
                    <a:pt x="1" y="0"/>
                  </a:moveTo>
                  <a:lnTo>
                    <a:pt x="1" y="8907"/>
                  </a:lnTo>
                  <a:cubicBezTo>
                    <a:pt x="201" y="20181"/>
                    <a:pt x="9541" y="29321"/>
                    <a:pt x="20816" y="29321"/>
                  </a:cubicBezTo>
                  <a:lnTo>
                    <a:pt x="32924" y="29255"/>
                  </a:lnTo>
                  <a:lnTo>
                    <a:pt x="32924" y="29255"/>
                  </a:lnTo>
                  <a:lnTo>
                    <a:pt x="32924" y="30722"/>
                  </a:lnTo>
                  <a:lnTo>
                    <a:pt x="38995" y="27220"/>
                  </a:lnTo>
                  <a:lnTo>
                    <a:pt x="32924" y="23717"/>
                  </a:lnTo>
                  <a:lnTo>
                    <a:pt x="32924" y="25085"/>
                  </a:lnTo>
                  <a:lnTo>
                    <a:pt x="20749" y="25051"/>
                  </a:lnTo>
                  <a:cubicBezTo>
                    <a:pt x="11909" y="25051"/>
                    <a:pt x="4504" y="17846"/>
                    <a:pt x="4237" y="8973"/>
                  </a:cubicBezTo>
                  <a:lnTo>
                    <a:pt x="4237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26" name="Google Shape;226;p25"/>
          <p:cNvSpPr txBox="1">
            <a:spLocks noGrp="1"/>
          </p:cNvSpPr>
          <p:nvPr>
            <p:ph type="title"/>
          </p:nvPr>
        </p:nvSpPr>
        <p:spPr>
          <a:xfrm>
            <a:off x="720000" y="539400"/>
            <a:ext cx="7704000" cy="47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pic>
        <p:nvPicPr>
          <p:cNvPr id="227" name="Google Shape;227;p25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CUSTOM_11_1"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9" name="Google Shape;229;p26"/>
          <p:cNvGrpSpPr/>
          <p:nvPr/>
        </p:nvGrpSpPr>
        <p:grpSpPr>
          <a:xfrm>
            <a:off x="-145720" y="4625049"/>
            <a:ext cx="8888911" cy="416688"/>
            <a:chOff x="-710548" y="4569231"/>
            <a:chExt cx="9308734" cy="436369"/>
          </a:xfrm>
        </p:grpSpPr>
        <p:sp>
          <p:nvSpPr>
            <p:cNvPr id="230" name="Google Shape;230;p26"/>
            <p:cNvSpPr/>
            <p:nvPr/>
          </p:nvSpPr>
          <p:spPr>
            <a:xfrm rot="-5400000">
              <a:off x="7817646" y="4225060"/>
              <a:ext cx="436369" cy="1124712"/>
            </a:xfrm>
            <a:custGeom>
              <a:avLst/>
              <a:gdLst/>
              <a:ahLst/>
              <a:cxnLst/>
              <a:rect l="l" t="t" r="r" b="b"/>
              <a:pathLst>
                <a:path w="7006" h="17981" extrusionOk="0">
                  <a:moveTo>
                    <a:pt x="1369" y="1"/>
                  </a:moveTo>
                  <a:lnTo>
                    <a:pt x="1369" y="11943"/>
                  </a:lnTo>
                  <a:lnTo>
                    <a:pt x="1" y="11943"/>
                  </a:lnTo>
                  <a:lnTo>
                    <a:pt x="3503" y="17980"/>
                  </a:lnTo>
                  <a:lnTo>
                    <a:pt x="7006" y="11943"/>
                  </a:lnTo>
                  <a:lnTo>
                    <a:pt x="5605" y="11943"/>
                  </a:lnTo>
                  <a:lnTo>
                    <a:pt x="563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231;p26"/>
            <p:cNvSpPr/>
            <p:nvPr/>
          </p:nvSpPr>
          <p:spPr>
            <a:xfrm flipH="1">
              <a:off x="-710548" y="4654503"/>
              <a:ext cx="8260200" cy="2652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32" name="Google Shape;232;p26"/>
          <p:cNvSpPr txBox="1">
            <a:spLocks noGrp="1"/>
          </p:cNvSpPr>
          <p:nvPr>
            <p:ph type="title"/>
          </p:nvPr>
        </p:nvSpPr>
        <p:spPr>
          <a:xfrm>
            <a:off x="720000" y="539400"/>
            <a:ext cx="7704000" cy="47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pic>
        <p:nvPicPr>
          <p:cNvPr id="233" name="Google Shape;233;p26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0" y="-21500"/>
            <a:ext cx="9144000" cy="5186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mbers and text">
  <p:cSld name="CUSTOM_8"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oogle Shape;235;p27"/>
          <p:cNvGrpSpPr/>
          <p:nvPr/>
        </p:nvGrpSpPr>
        <p:grpSpPr>
          <a:xfrm rot="-5400000">
            <a:off x="-887330" y="1128469"/>
            <a:ext cx="5113419" cy="2956493"/>
            <a:chOff x="3953555" y="656550"/>
            <a:chExt cx="5113419" cy="2956493"/>
          </a:xfrm>
        </p:grpSpPr>
        <p:sp>
          <p:nvSpPr>
            <p:cNvPr id="236" name="Google Shape;236;p27"/>
            <p:cNvSpPr/>
            <p:nvPr/>
          </p:nvSpPr>
          <p:spPr>
            <a:xfrm>
              <a:off x="7794825" y="656575"/>
              <a:ext cx="1272148" cy="2956468"/>
            </a:xfrm>
            <a:custGeom>
              <a:avLst/>
              <a:gdLst/>
              <a:ahLst/>
              <a:cxnLst/>
              <a:rect l="l" t="t" r="r" b="b"/>
              <a:pathLst>
                <a:path w="19349" h="44967" extrusionOk="0">
                  <a:moveTo>
                    <a:pt x="1" y="1"/>
                  </a:moveTo>
                  <a:lnTo>
                    <a:pt x="1" y="4004"/>
                  </a:lnTo>
                  <a:cubicBezTo>
                    <a:pt x="7873" y="4671"/>
                    <a:pt x="14144" y="11409"/>
                    <a:pt x="14144" y="19348"/>
                  </a:cubicBezTo>
                  <a:lnTo>
                    <a:pt x="14144" y="39329"/>
                  </a:lnTo>
                  <a:lnTo>
                    <a:pt x="12843" y="39329"/>
                  </a:lnTo>
                  <a:lnTo>
                    <a:pt x="16079" y="44966"/>
                  </a:lnTo>
                  <a:lnTo>
                    <a:pt x="19348" y="39329"/>
                  </a:lnTo>
                  <a:lnTo>
                    <a:pt x="18047" y="39329"/>
                  </a:lnTo>
                  <a:lnTo>
                    <a:pt x="18114" y="19348"/>
                  </a:lnTo>
                  <a:cubicBezTo>
                    <a:pt x="18114" y="9174"/>
                    <a:pt x="10041" y="668"/>
                    <a:pt x="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237;p27"/>
            <p:cNvSpPr/>
            <p:nvPr/>
          </p:nvSpPr>
          <p:spPr>
            <a:xfrm>
              <a:off x="3953555" y="656550"/>
              <a:ext cx="3855900" cy="2628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38" name="Google Shape;238;p27"/>
          <p:cNvSpPr txBox="1">
            <a:spLocks noGrp="1"/>
          </p:cNvSpPr>
          <p:nvPr>
            <p:ph type="title" hasCustomPrompt="1"/>
          </p:nvPr>
        </p:nvSpPr>
        <p:spPr>
          <a:xfrm>
            <a:off x="713100" y="3253782"/>
            <a:ext cx="2258100" cy="667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4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9pPr>
          </a:lstStyle>
          <a:p>
            <a:r>
              <a:t>xx%</a:t>
            </a:r>
          </a:p>
        </p:txBody>
      </p:sp>
      <p:sp>
        <p:nvSpPr>
          <p:cNvPr id="239" name="Google Shape;239;p27"/>
          <p:cNvSpPr txBox="1">
            <a:spLocks noGrp="1"/>
          </p:cNvSpPr>
          <p:nvPr>
            <p:ph type="subTitle" idx="1"/>
          </p:nvPr>
        </p:nvSpPr>
        <p:spPr>
          <a:xfrm>
            <a:off x="713100" y="3908264"/>
            <a:ext cx="2258100" cy="57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PT Sans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9pPr>
          </a:lstStyle>
          <a:p>
            <a:endParaRPr/>
          </a:p>
        </p:txBody>
      </p:sp>
      <p:sp>
        <p:nvSpPr>
          <p:cNvPr id="240" name="Google Shape;240;p27"/>
          <p:cNvSpPr txBox="1">
            <a:spLocks noGrp="1"/>
          </p:cNvSpPr>
          <p:nvPr>
            <p:ph type="title" idx="2" hasCustomPrompt="1"/>
          </p:nvPr>
        </p:nvSpPr>
        <p:spPr>
          <a:xfrm>
            <a:off x="3442950" y="3253773"/>
            <a:ext cx="2258100" cy="667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4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9pPr>
          </a:lstStyle>
          <a:p>
            <a:r>
              <a:t>xx%</a:t>
            </a:r>
          </a:p>
        </p:txBody>
      </p:sp>
      <p:sp>
        <p:nvSpPr>
          <p:cNvPr id="241" name="Google Shape;241;p27"/>
          <p:cNvSpPr txBox="1">
            <a:spLocks noGrp="1"/>
          </p:cNvSpPr>
          <p:nvPr>
            <p:ph type="subTitle" idx="3"/>
          </p:nvPr>
        </p:nvSpPr>
        <p:spPr>
          <a:xfrm>
            <a:off x="3442950" y="3908245"/>
            <a:ext cx="2258100" cy="57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PT Sans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9pPr>
          </a:lstStyle>
          <a:p>
            <a:endParaRPr/>
          </a:p>
        </p:txBody>
      </p:sp>
      <p:sp>
        <p:nvSpPr>
          <p:cNvPr id="242" name="Google Shape;242;p27"/>
          <p:cNvSpPr txBox="1">
            <a:spLocks noGrp="1"/>
          </p:cNvSpPr>
          <p:nvPr>
            <p:ph type="title" idx="4" hasCustomPrompt="1"/>
          </p:nvPr>
        </p:nvSpPr>
        <p:spPr>
          <a:xfrm>
            <a:off x="6172800" y="3253778"/>
            <a:ext cx="2258100" cy="667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4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9pPr>
          </a:lstStyle>
          <a:p>
            <a:r>
              <a:t>xx%</a:t>
            </a:r>
          </a:p>
        </p:txBody>
      </p:sp>
      <p:sp>
        <p:nvSpPr>
          <p:cNvPr id="243" name="Google Shape;243;p27"/>
          <p:cNvSpPr txBox="1">
            <a:spLocks noGrp="1"/>
          </p:cNvSpPr>
          <p:nvPr>
            <p:ph type="subTitle" idx="5"/>
          </p:nvPr>
        </p:nvSpPr>
        <p:spPr>
          <a:xfrm>
            <a:off x="6172800" y="3908243"/>
            <a:ext cx="2258100" cy="57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PT Sans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21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PT Sans"/>
              <a:buNone/>
              <a:defRPr sz="2100">
                <a:solidFill>
                  <a:schemeClr val="dk1"/>
                </a:solidFill>
                <a:latin typeface="PT Sans"/>
                <a:ea typeface="PT Sans"/>
                <a:cs typeface="PT Sans"/>
                <a:sym typeface="PT Sans"/>
              </a:defRPr>
            </a:lvl9pPr>
          </a:lstStyle>
          <a:p>
            <a:endParaRPr/>
          </a:p>
        </p:txBody>
      </p:sp>
      <p:sp>
        <p:nvSpPr>
          <p:cNvPr id="244" name="Google Shape;244;p27"/>
          <p:cNvSpPr txBox="1">
            <a:spLocks noGrp="1"/>
          </p:cNvSpPr>
          <p:nvPr>
            <p:ph type="title" idx="6"/>
          </p:nvPr>
        </p:nvSpPr>
        <p:spPr>
          <a:xfrm>
            <a:off x="720000" y="539400"/>
            <a:ext cx="7704000" cy="47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pic>
        <p:nvPicPr>
          <p:cNvPr id="245" name="Google Shape;245;p27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CUSTOM_3"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Google Shape;247;p28"/>
          <p:cNvSpPr/>
          <p:nvPr/>
        </p:nvSpPr>
        <p:spPr>
          <a:xfrm rot="5400000">
            <a:off x="1863504" y="-3379878"/>
            <a:ext cx="5241789" cy="12182122"/>
          </a:xfrm>
          <a:custGeom>
            <a:avLst/>
            <a:gdLst/>
            <a:ahLst/>
            <a:cxnLst/>
            <a:rect l="l" t="t" r="r" b="b"/>
            <a:pathLst>
              <a:path w="19349" h="44967" extrusionOk="0">
                <a:moveTo>
                  <a:pt x="1" y="1"/>
                </a:moveTo>
                <a:lnTo>
                  <a:pt x="1" y="4004"/>
                </a:lnTo>
                <a:cubicBezTo>
                  <a:pt x="7873" y="4671"/>
                  <a:pt x="14144" y="11409"/>
                  <a:pt x="14144" y="19348"/>
                </a:cubicBezTo>
                <a:lnTo>
                  <a:pt x="14144" y="39329"/>
                </a:lnTo>
                <a:lnTo>
                  <a:pt x="12843" y="39329"/>
                </a:lnTo>
                <a:lnTo>
                  <a:pt x="16079" y="44966"/>
                </a:lnTo>
                <a:lnTo>
                  <a:pt x="19348" y="39329"/>
                </a:lnTo>
                <a:lnTo>
                  <a:pt x="18047" y="39329"/>
                </a:lnTo>
                <a:lnTo>
                  <a:pt x="18114" y="19348"/>
                </a:lnTo>
                <a:cubicBezTo>
                  <a:pt x="18114" y="9174"/>
                  <a:pt x="10041" y="668"/>
                  <a:pt x="1" y="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248" name="Google Shape;248;p28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  <p:sp>
        <p:nvSpPr>
          <p:cNvPr id="249" name="Google Shape;249;p28"/>
          <p:cNvSpPr txBox="1">
            <a:spLocks noGrp="1"/>
          </p:cNvSpPr>
          <p:nvPr>
            <p:ph type="title"/>
          </p:nvPr>
        </p:nvSpPr>
        <p:spPr>
          <a:xfrm flipH="1">
            <a:off x="713075" y="534750"/>
            <a:ext cx="4118100" cy="1133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5600"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250" name="Google Shape;250;p28"/>
          <p:cNvSpPr txBox="1">
            <a:spLocks noGrp="1"/>
          </p:cNvSpPr>
          <p:nvPr>
            <p:ph type="subTitle" idx="1"/>
          </p:nvPr>
        </p:nvSpPr>
        <p:spPr>
          <a:xfrm flipH="1">
            <a:off x="1054775" y="1726148"/>
            <a:ext cx="3434700" cy="1174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1" name="Google Shape;251;p28"/>
          <p:cNvSpPr txBox="1"/>
          <p:nvPr/>
        </p:nvSpPr>
        <p:spPr>
          <a:xfrm flipH="1">
            <a:off x="842675" y="4357575"/>
            <a:ext cx="3858900" cy="47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>
                <a:solidFill>
                  <a:schemeClr val="lt1"/>
                </a:solidFill>
                <a:latin typeface="Assistant"/>
                <a:ea typeface="Assistant"/>
                <a:cs typeface="Assistant"/>
                <a:sym typeface="Assistant"/>
              </a:rPr>
              <a:t>CREDITS: This presentation template was created by </a:t>
            </a:r>
            <a:r>
              <a:rPr lang="en" sz="1000" b="1">
                <a:solidFill>
                  <a:schemeClr val="lt1"/>
                </a:solidFill>
                <a:uFill>
                  <a:noFill/>
                </a:uFill>
                <a:latin typeface="Assistant"/>
                <a:ea typeface="Assistant"/>
                <a:cs typeface="Assistant"/>
                <a:sym typeface="Assistan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sz="1000">
                <a:solidFill>
                  <a:schemeClr val="lt1"/>
                </a:solidFill>
                <a:latin typeface="Assistant"/>
                <a:ea typeface="Assistant"/>
                <a:cs typeface="Assistant"/>
                <a:sym typeface="Assistant"/>
              </a:rPr>
              <a:t>, including icons by </a:t>
            </a:r>
            <a:r>
              <a:rPr lang="en" sz="1000" b="1">
                <a:solidFill>
                  <a:schemeClr val="lt1"/>
                </a:solidFill>
                <a:uFill>
                  <a:noFill/>
                </a:uFill>
                <a:latin typeface="Assistant"/>
                <a:ea typeface="Assistant"/>
                <a:cs typeface="Assistant"/>
                <a:sym typeface="Assistan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" sz="1000">
                <a:solidFill>
                  <a:schemeClr val="lt1"/>
                </a:solidFill>
                <a:latin typeface="Assistant"/>
                <a:ea typeface="Assistant"/>
                <a:cs typeface="Assistant"/>
                <a:sym typeface="Assistant"/>
              </a:rPr>
              <a:t>, infographics and images by </a:t>
            </a:r>
            <a:r>
              <a:rPr lang="en" sz="1000" b="1">
                <a:solidFill>
                  <a:schemeClr val="lt1"/>
                </a:solidFill>
                <a:uFill>
                  <a:noFill/>
                </a:uFill>
                <a:latin typeface="Assistant"/>
                <a:ea typeface="Assistant"/>
                <a:cs typeface="Assistant"/>
                <a:sym typeface="Assistan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000" b="1">
              <a:solidFill>
                <a:schemeClr val="lt1"/>
              </a:solidFill>
              <a:latin typeface="Assistant"/>
              <a:ea typeface="Assistant"/>
              <a:cs typeface="Assistant"/>
              <a:sym typeface="Assistant"/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CUSTOM_9"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3" name="Google Shape;253;p29"/>
          <p:cNvGrpSpPr/>
          <p:nvPr/>
        </p:nvGrpSpPr>
        <p:grpSpPr>
          <a:xfrm flipH="1">
            <a:off x="-3209729" y="-150080"/>
            <a:ext cx="8379400" cy="9999105"/>
            <a:chOff x="116750" y="6"/>
            <a:chExt cx="4503843" cy="5374418"/>
          </a:xfrm>
        </p:grpSpPr>
        <p:sp>
          <p:nvSpPr>
            <p:cNvPr id="254" name="Google Shape;254;p29"/>
            <p:cNvSpPr/>
            <p:nvPr/>
          </p:nvSpPr>
          <p:spPr>
            <a:xfrm rot="10800000" flipH="1">
              <a:off x="1896628" y="6"/>
              <a:ext cx="809158" cy="2076716"/>
            </a:xfrm>
            <a:custGeom>
              <a:avLst/>
              <a:gdLst/>
              <a:ahLst/>
              <a:cxnLst/>
              <a:rect l="l" t="t" r="r" b="b"/>
              <a:pathLst>
                <a:path w="7006" h="17981" extrusionOk="0">
                  <a:moveTo>
                    <a:pt x="1369" y="1"/>
                  </a:moveTo>
                  <a:lnTo>
                    <a:pt x="1369" y="11943"/>
                  </a:lnTo>
                  <a:lnTo>
                    <a:pt x="1" y="11943"/>
                  </a:lnTo>
                  <a:lnTo>
                    <a:pt x="3503" y="17980"/>
                  </a:lnTo>
                  <a:lnTo>
                    <a:pt x="7006" y="11943"/>
                  </a:lnTo>
                  <a:lnTo>
                    <a:pt x="5605" y="11943"/>
                  </a:lnTo>
                  <a:lnTo>
                    <a:pt x="563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" name="Google Shape;255;p29"/>
            <p:cNvSpPr/>
            <p:nvPr/>
          </p:nvSpPr>
          <p:spPr>
            <a:xfrm rot="10800000" flipH="1">
              <a:off x="116750" y="1826071"/>
              <a:ext cx="4503843" cy="3548353"/>
            </a:xfrm>
            <a:custGeom>
              <a:avLst/>
              <a:gdLst/>
              <a:ahLst/>
              <a:cxnLst/>
              <a:rect l="l" t="t" r="r" b="b"/>
              <a:pathLst>
                <a:path w="38996" h="30723" extrusionOk="0">
                  <a:moveTo>
                    <a:pt x="1" y="0"/>
                  </a:moveTo>
                  <a:lnTo>
                    <a:pt x="1" y="8907"/>
                  </a:lnTo>
                  <a:cubicBezTo>
                    <a:pt x="201" y="20181"/>
                    <a:pt x="9541" y="29321"/>
                    <a:pt x="20816" y="29321"/>
                  </a:cubicBezTo>
                  <a:lnTo>
                    <a:pt x="32924" y="29255"/>
                  </a:lnTo>
                  <a:lnTo>
                    <a:pt x="32924" y="29255"/>
                  </a:lnTo>
                  <a:lnTo>
                    <a:pt x="32924" y="30722"/>
                  </a:lnTo>
                  <a:lnTo>
                    <a:pt x="38995" y="27220"/>
                  </a:lnTo>
                  <a:lnTo>
                    <a:pt x="32924" y="23717"/>
                  </a:lnTo>
                  <a:lnTo>
                    <a:pt x="32924" y="25085"/>
                  </a:lnTo>
                  <a:lnTo>
                    <a:pt x="20749" y="25051"/>
                  </a:lnTo>
                  <a:cubicBezTo>
                    <a:pt x="11909" y="25051"/>
                    <a:pt x="4504" y="17846"/>
                    <a:pt x="4237" y="8973"/>
                  </a:cubicBezTo>
                  <a:lnTo>
                    <a:pt x="4237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256" name="Google Shape;256;p29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CUSTOM_9_1">
    <p:spTree>
      <p:nvGrpSpPr>
        <p:cNvPr id="1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8" name="Google Shape;258;p30"/>
          <p:cNvGrpSpPr/>
          <p:nvPr/>
        </p:nvGrpSpPr>
        <p:grpSpPr>
          <a:xfrm flipH="1">
            <a:off x="-3070225" y="-1612080"/>
            <a:ext cx="8379400" cy="9999105"/>
            <a:chOff x="116750" y="6"/>
            <a:chExt cx="4503843" cy="5374418"/>
          </a:xfrm>
        </p:grpSpPr>
        <p:sp>
          <p:nvSpPr>
            <p:cNvPr id="259" name="Google Shape;259;p30"/>
            <p:cNvSpPr/>
            <p:nvPr/>
          </p:nvSpPr>
          <p:spPr>
            <a:xfrm rot="10800000" flipH="1">
              <a:off x="1896628" y="6"/>
              <a:ext cx="809158" cy="2076716"/>
            </a:xfrm>
            <a:custGeom>
              <a:avLst/>
              <a:gdLst/>
              <a:ahLst/>
              <a:cxnLst/>
              <a:rect l="l" t="t" r="r" b="b"/>
              <a:pathLst>
                <a:path w="7006" h="17981" extrusionOk="0">
                  <a:moveTo>
                    <a:pt x="1369" y="1"/>
                  </a:moveTo>
                  <a:lnTo>
                    <a:pt x="1369" y="11943"/>
                  </a:lnTo>
                  <a:lnTo>
                    <a:pt x="1" y="11943"/>
                  </a:lnTo>
                  <a:lnTo>
                    <a:pt x="3503" y="17980"/>
                  </a:lnTo>
                  <a:lnTo>
                    <a:pt x="7006" y="11943"/>
                  </a:lnTo>
                  <a:lnTo>
                    <a:pt x="5605" y="11943"/>
                  </a:lnTo>
                  <a:lnTo>
                    <a:pt x="563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" name="Google Shape;260;p30"/>
            <p:cNvSpPr/>
            <p:nvPr/>
          </p:nvSpPr>
          <p:spPr>
            <a:xfrm rot="10800000" flipH="1">
              <a:off x="116750" y="1826071"/>
              <a:ext cx="4503843" cy="3548353"/>
            </a:xfrm>
            <a:custGeom>
              <a:avLst/>
              <a:gdLst/>
              <a:ahLst/>
              <a:cxnLst/>
              <a:rect l="l" t="t" r="r" b="b"/>
              <a:pathLst>
                <a:path w="38996" h="30723" extrusionOk="0">
                  <a:moveTo>
                    <a:pt x="1" y="0"/>
                  </a:moveTo>
                  <a:lnTo>
                    <a:pt x="1" y="8907"/>
                  </a:lnTo>
                  <a:cubicBezTo>
                    <a:pt x="201" y="20181"/>
                    <a:pt x="9541" y="29321"/>
                    <a:pt x="20816" y="29321"/>
                  </a:cubicBezTo>
                  <a:lnTo>
                    <a:pt x="32924" y="29255"/>
                  </a:lnTo>
                  <a:lnTo>
                    <a:pt x="32924" y="29255"/>
                  </a:lnTo>
                  <a:lnTo>
                    <a:pt x="32924" y="30722"/>
                  </a:lnTo>
                  <a:lnTo>
                    <a:pt x="38995" y="27220"/>
                  </a:lnTo>
                  <a:lnTo>
                    <a:pt x="32924" y="23717"/>
                  </a:lnTo>
                  <a:lnTo>
                    <a:pt x="32924" y="25085"/>
                  </a:lnTo>
                  <a:lnTo>
                    <a:pt x="20749" y="25051"/>
                  </a:lnTo>
                  <a:cubicBezTo>
                    <a:pt x="11909" y="25051"/>
                    <a:pt x="4504" y="17846"/>
                    <a:pt x="4237" y="8973"/>
                  </a:cubicBezTo>
                  <a:lnTo>
                    <a:pt x="4237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261" name="Google Shape;261;p30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>
            <a:off x="3071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4"/>
          <p:cNvSpPr txBox="1">
            <a:spLocks noGrp="1"/>
          </p:cNvSpPr>
          <p:nvPr>
            <p:ph type="title"/>
          </p:nvPr>
        </p:nvSpPr>
        <p:spPr>
          <a:xfrm>
            <a:off x="720000" y="539400"/>
            <a:ext cx="7704000" cy="47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4"/>
          <p:cNvSpPr txBox="1">
            <a:spLocks noGrp="1"/>
          </p:cNvSpPr>
          <p:nvPr>
            <p:ph type="body" idx="1"/>
          </p:nvPr>
        </p:nvSpPr>
        <p:spPr>
          <a:xfrm>
            <a:off x="720000" y="1106323"/>
            <a:ext cx="7704000" cy="478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AutoNum type="arabicPeriod"/>
              <a:defRPr sz="1200"/>
            </a:lvl1pPr>
            <a:lvl2pPr marL="914400" lvl="1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Roboto Condensed Light"/>
              <a:buAutoNum type="alphaLcPeriod"/>
              <a:defRPr/>
            </a:lvl2pPr>
            <a:lvl3pPr marL="1371600" lvl="2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Roboto Condensed Light"/>
              <a:buAutoNum type="romanLcPeriod"/>
              <a:defRPr/>
            </a:lvl3pPr>
            <a:lvl4pPr marL="1828800" lvl="3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Roboto Condensed Light"/>
              <a:buAutoNum type="arabicPeriod"/>
              <a:defRPr/>
            </a:lvl4pPr>
            <a:lvl5pPr marL="2286000" lvl="4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Roboto Condensed Light"/>
              <a:buAutoNum type="alphaLcPeriod"/>
              <a:defRPr/>
            </a:lvl5pPr>
            <a:lvl6pPr marL="2743200" lvl="5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Roboto Condensed Light"/>
              <a:buAutoNum type="romanLcPeriod"/>
              <a:defRPr/>
            </a:lvl6pPr>
            <a:lvl7pPr marL="3200400" lvl="6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Roboto Condensed Light"/>
              <a:buAutoNum type="arabicPeriod"/>
              <a:defRPr/>
            </a:lvl7pPr>
            <a:lvl8pPr marL="3657600" lvl="7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Roboto Condensed Light"/>
              <a:buAutoNum type="alphaLcPeriod"/>
              <a:defRPr/>
            </a:lvl8pPr>
            <a:lvl9pPr marL="4114800" lvl="8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Roboto Condensed Light"/>
              <a:buAutoNum type="romanLcPeriod"/>
              <a:defRPr/>
            </a:lvl9pPr>
          </a:lstStyle>
          <a:p>
            <a:endParaRPr/>
          </a:p>
        </p:txBody>
      </p:sp>
      <p:grpSp>
        <p:nvGrpSpPr>
          <p:cNvPr id="25" name="Google Shape;25;p4"/>
          <p:cNvGrpSpPr/>
          <p:nvPr/>
        </p:nvGrpSpPr>
        <p:grpSpPr>
          <a:xfrm rot="-5400000" flipH="1">
            <a:off x="-873049" y="1057522"/>
            <a:ext cx="5098113" cy="2956468"/>
            <a:chOff x="3968860" y="656575"/>
            <a:chExt cx="5098113" cy="2956468"/>
          </a:xfrm>
        </p:grpSpPr>
        <p:sp>
          <p:nvSpPr>
            <p:cNvPr id="26" name="Google Shape;26;p4"/>
            <p:cNvSpPr/>
            <p:nvPr/>
          </p:nvSpPr>
          <p:spPr>
            <a:xfrm>
              <a:off x="7794825" y="656575"/>
              <a:ext cx="1272148" cy="2956468"/>
            </a:xfrm>
            <a:custGeom>
              <a:avLst/>
              <a:gdLst/>
              <a:ahLst/>
              <a:cxnLst/>
              <a:rect l="l" t="t" r="r" b="b"/>
              <a:pathLst>
                <a:path w="19349" h="44967" extrusionOk="0">
                  <a:moveTo>
                    <a:pt x="1" y="1"/>
                  </a:moveTo>
                  <a:lnTo>
                    <a:pt x="1" y="4004"/>
                  </a:lnTo>
                  <a:cubicBezTo>
                    <a:pt x="7873" y="4671"/>
                    <a:pt x="14144" y="11409"/>
                    <a:pt x="14144" y="19348"/>
                  </a:cubicBezTo>
                  <a:lnTo>
                    <a:pt x="14144" y="39329"/>
                  </a:lnTo>
                  <a:lnTo>
                    <a:pt x="12843" y="39329"/>
                  </a:lnTo>
                  <a:lnTo>
                    <a:pt x="16079" y="44966"/>
                  </a:lnTo>
                  <a:lnTo>
                    <a:pt x="19348" y="39329"/>
                  </a:lnTo>
                  <a:lnTo>
                    <a:pt x="18047" y="39329"/>
                  </a:lnTo>
                  <a:lnTo>
                    <a:pt x="18114" y="19348"/>
                  </a:lnTo>
                  <a:cubicBezTo>
                    <a:pt x="18114" y="9174"/>
                    <a:pt x="10041" y="668"/>
                    <a:pt x="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4"/>
            <p:cNvSpPr/>
            <p:nvPr/>
          </p:nvSpPr>
          <p:spPr>
            <a:xfrm>
              <a:off x="3968860" y="656577"/>
              <a:ext cx="3840300" cy="2628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28" name="Google Shape;28;p4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11002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CUSTOM_9_1_1"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3" name="Google Shape;263;p31"/>
          <p:cNvGrpSpPr/>
          <p:nvPr/>
        </p:nvGrpSpPr>
        <p:grpSpPr>
          <a:xfrm rot="5400587">
            <a:off x="727567" y="-767340"/>
            <a:ext cx="7918657" cy="9449302"/>
            <a:chOff x="116750" y="6"/>
            <a:chExt cx="4503843" cy="5374418"/>
          </a:xfrm>
        </p:grpSpPr>
        <p:sp>
          <p:nvSpPr>
            <p:cNvPr id="264" name="Google Shape;264;p31"/>
            <p:cNvSpPr/>
            <p:nvPr/>
          </p:nvSpPr>
          <p:spPr>
            <a:xfrm rot="10800000" flipH="1">
              <a:off x="1896628" y="6"/>
              <a:ext cx="809158" cy="2076716"/>
            </a:xfrm>
            <a:custGeom>
              <a:avLst/>
              <a:gdLst/>
              <a:ahLst/>
              <a:cxnLst/>
              <a:rect l="l" t="t" r="r" b="b"/>
              <a:pathLst>
                <a:path w="7006" h="17981" extrusionOk="0">
                  <a:moveTo>
                    <a:pt x="1369" y="1"/>
                  </a:moveTo>
                  <a:lnTo>
                    <a:pt x="1369" y="11943"/>
                  </a:lnTo>
                  <a:lnTo>
                    <a:pt x="1" y="11943"/>
                  </a:lnTo>
                  <a:lnTo>
                    <a:pt x="3503" y="17980"/>
                  </a:lnTo>
                  <a:lnTo>
                    <a:pt x="7006" y="11943"/>
                  </a:lnTo>
                  <a:lnTo>
                    <a:pt x="5605" y="11943"/>
                  </a:lnTo>
                  <a:lnTo>
                    <a:pt x="563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" name="Google Shape;265;p31"/>
            <p:cNvSpPr/>
            <p:nvPr/>
          </p:nvSpPr>
          <p:spPr>
            <a:xfrm rot="10800000" flipH="1">
              <a:off x="116750" y="1826071"/>
              <a:ext cx="4503843" cy="3548353"/>
            </a:xfrm>
            <a:custGeom>
              <a:avLst/>
              <a:gdLst/>
              <a:ahLst/>
              <a:cxnLst/>
              <a:rect l="l" t="t" r="r" b="b"/>
              <a:pathLst>
                <a:path w="38996" h="30723" extrusionOk="0">
                  <a:moveTo>
                    <a:pt x="1" y="0"/>
                  </a:moveTo>
                  <a:lnTo>
                    <a:pt x="1" y="8907"/>
                  </a:lnTo>
                  <a:cubicBezTo>
                    <a:pt x="201" y="20181"/>
                    <a:pt x="9541" y="29321"/>
                    <a:pt x="20816" y="29321"/>
                  </a:cubicBezTo>
                  <a:lnTo>
                    <a:pt x="32924" y="29255"/>
                  </a:lnTo>
                  <a:lnTo>
                    <a:pt x="32924" y="29255"/>
                  </a:lnTo>
                  <a:lnTo>
                    <a:pt x="32924" y="30722"/>
                  </a:lnTo>
                  <a:lnTo>
                    <a:pt x="38995" y="27220"/>
                  </a:lnTo>
                  <a:lnTo>
                    <a:pt x="32924" y="23717"/>
                  </a:lnTo>
                  <a:lnTo>
                    <a:pt x="32924" y="25085"/>
                  </a:lnTo>
                  <a:lnTo>
                    <a:pt x="20749" y="25051"/>
                  </a:lnTo>
                  <a:cubicBezTo>
                    <a:pt x="11909" y="25051"/>
                    <a:pt x="4504" y="17846"/>
                    <a:pt x="4237" y="8973"/>
                  </a:cubicBezTo>
                  <a:lnTo>
                    <a:pt x="4237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266" name="Google Shape;266;p31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oogle Shape;30;p5"/>
          <p:cNvGrpSpPr/>
          <p:nvPr/>
        </p:nvGrpSpPr>
        <p:grpSpPr>
          <a:xfrm flipH="1">
            <a:off x="99089" y="2087017"/>
            <a:ext cx="8931989" cy="5850191"/>
            <a:chOff x="22889" y="29617"/>
            <a:chExt cx="8931989" cy="5850191"/>
          </a:xfrm>
        </p:grpSpPr>
        <p:grpSp>
          <p:nvGrpSpPr>
            <p:cNvPr id="31" name="Google Shape;31;p5"/>
            <p:cNvGrpSpPr/>
            <p:nvPr/>
          </p:nvGrpSpPr>
          <p:grpSpPr>
            <a:xfrm>
              <a:off x="22889" y="29617"/>
              <a:ext cx="6532542" cy="5850191"/>
              <a:chOff x="22889" y="29617"/>
              <a:chExt cx="6532542" cy="5850191"/>
            </a:xfrm>
          </p:grpSpPr>
          <p:grpSp>
            <p:nvGrpSpPr>
              <p:cNvPr id="32" name="Google Shape;32;p5"/>
              <p:cNvGrpSpPr/>
              <p:nvPr/>
            </p:nvGrpSpPr>
            <p:grpSpPr>
              <a:xfrm rot="-5400000">
                <a:off x="-2436928" y="2489435"/>
                <a:ext cx="5850191" cy="930556"/>
                <a:chOff x="5854966" y="4569231"/>
                <a:chExt cx="2743220" cy="436369"/>
              </a:xfrm>
            </p:grpSpPr>
            <p:sp>
              <p:nvSpPr>
                <p:cNvPr id="33" name="Google Shape;33;p5"/>
                <p:cNvSpPr/>
                <p:nvPr/>
              </p:nvSpPr>
              <p:spPr>
                <a:xfrm rot="-5400000">
                  <a:off x="7817646" y="4225060"/>
                  <a:ext cx="436369" cy="11247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06" h="17981" extrusionOk="0">
                      <a:moveTo>
                        <a:pt x="1369" y="1"/>
                      </a:moveTo>
                      <a:lnTo>
                        <a:pt x="1369" y="11943"/>
                      </a:lnTo>
                      <a:lnTo>
                        <a:pt x="1" y="11943"/>
                      </a:lnTo>
                      <a:lnTo>
                        <a:pt x="3503" y="17980"/>
                      </a:lnTo>
                      <a:lnTo>
                        <a:pt x="7006" y="11943"/>
                      </a:lnTo>
                      <a:lnTo>
                        <a:pt x="5605" y="11943"/>
                      </a:lnTo>
                      <a:lnTo>
                        <a:pt x="5638" y="1"/>
                      </a:ln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34" name="Google Shape;34;p5"/>
                <p:cNvSpPr/>
                <p:nvPr/>
              </p:nvSpPr>
              <p:spPr>
                <a:xfrm flipH="1">
                  <a:off x="5854966" y="4654528"/>
                  <a:ext cx="1694700" cy="265200"/>
                </a:xfrm>
                <a:prstGeom prst="rect">
                  <a:avLst/>
                </a:pr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35" name="Google Shape;35;p5"/>
              <p:cNvSpPr/>
              <p:nvPr/>
            </p:nvSpPr>
            <p:spPr>
              <a:xfrm rot="-5400000">
                <a:off x="2010782" y="24226"/>
                <a:ext cx="2734449" cy="6354849"/>
              </a:xfrm>
              <a:custGeom>
                <a:avLst/>
                <a:gdLst/>
                <a:ahLst/>
                <a:cxnLst/>
                <a:rect l="l" t="t" r="r" b="b"/>
                <a:pathLst>
                  <a:path w="19349" h="44967" extrusionOk="0">
                    <a:moveTo>
                      <a:pt x="1" y="1"/>
                    </a:moveTo>
                    <a:lnTo>
                      <a:pt x="1" y="4004"/>
                    </a:lnTo>
                    <a:cubicBezTo>
                      <a:pt x="7873" y="4671"/>
                      <a:pt x="14144" y="11409"/>
                      <a:pt x="14144" y="19348"/>
                    </a:cubicBezTo>
                    <a:lnTo>
                      <a:pt x="14144" y="39329"/>
                    </a:lnTo>
                    <a:lnTo>
                      <a:pt x="12843" y="39329"/>
                    </a:lnTo>
                    <a:lnTo>
                      <a:pt x="16079" y="44966"/>
                    </a:lnTo>
                    <a:lnTo>
                      <a:pt x="19348" y="39329"/>
                    </a:lnTo>
                    <a:lnTo>
                      <a:pt x="18047" y="39329"/>
                    </a:lnTo>
                    <a:lnTo>
                      <a:pt x="18114" y="19348"/>
                    </a:lnTo>
                    <a:cubicBezTo>
                      <a:pt x="18114" y="9174"/>
                      <a:pt x="10041" y="668"/>
                      <a:pt x="1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6" name="Google Shape;36;p5"/>
            <p:cNvSpPr/>
            <p:nvPr/>
          </p:nvSpPr>
          <p:spPr>
            <a:xfrm>
              <a:off x="5630400" y="1742400"/>
              <a:ext cx="924900" cy="1224000"/>
            </a:xfrm>
            <a:prstGeom prst="rect">
              <a:avLst/>
            </a:pr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5"/>
            <p:cNvSpPr/>
            <p:nvPr/>
          </p:nvSpPr>
          <p:spPr>
            <a:xfrm>
              <a:off x="4932000" y="2023200"/>
              <a:ext cx="2527200" cy="548700"/>
            </a:xfrm>
            <a:prstGeom prst="rect">
              <a:avLst/>
            </a:prstGeom>
            <a:solidFill>
              <a:schemeClr val="dk1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38;p5"/>
            <p:cNvSpPr/>
            <p:nvPr/>
          </p:nvSpPr>
          <p:spPr>
            <a:xfrm rot="-5400000" flipH="1">
              <a:off x="7319564" y="1123061"/>
              <a:ext cx="917050" cy="2353578"/>
            </a:xfrm>
            <a:custGeom>
              <a:avLst/>
              <a:gdLst/>
              <a:ahLst/>
              <a:cxnLst/>
              <a:rect l="l" t="t" r="r" b="b"/>
              <a:pathLst>
                <a:path w="7006" h="17981" extrusionOk="0">
                  <a:moveTo>
                    <a:pt x="1369" y="1"/>
                  </a:moveTo>
                  <a:lnTo>
                    <a:pt x="1369" y="11943"/>
                  </a:lnTo>
                  <a:lnTo>
                    <a:pt x="1" y="11943"/>
                  </a:lnTo>
                  <a:lnTo>
                    <a:pt x="3503" y="17980"/>
                  </a:lnTo>
                  <a:lnTo>
                    <a:pt x="7006" y="11943"/>
                  </a:lnTo>
                  <a:lnTo>
                    <a:pt x="5605" y="11943"/>
                  </a:lnTo>
                  <a:lnTo>
                    <a:pt x="563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39" name="Google Shape;39;p5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title"/>
          </p:nvPr>
        </p:nvSpPr>
        <p:spPr>
          <a:xfrm>
            <a:off x="720000" y="539400"/>
            <a:ext cx="7704000" cy="47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5"/>
          <p:cNvSpPr txBox="1">
            <a:spLocks noGrp="1"/>
          </p:cNvSpPr>
          <p:nvPr>
            <p:ph type="body" idx="1"/>
          </p:nvPr>
        </p:nvSpPr>
        <p:spPr>
          <a:xfrm>
            <a:off x="720000" y="1101450"/>
            <a:ext cx="3852000" cy="248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Char char="●"/>
              <a:defRPr sz="1250"/>
            </a:lvl1pPr>
            <a:lvl2pPr marL="914400" lvl="1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Roboto Condensed Light"/>
              <a:buChar char="○"/>
              <a:defRPr/>
            </a:lvl2pPr>
            <a:lvl3pPr marL="1371600" lvl="2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Roboto Condensed Light"/>
              <a:buChar char="■"/>
              <a:defRPr/>
            </a:lvl3pPr>
            <a:lvl4pPr marL="1828800" lvl="3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Roboto Condensed Light"/>
              <a:buChar char="●"/>
              <a:defRPr/>
            </a:lvl4pPr>
            <a:lvl5pPr marL="2286000" lvl="4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Roboto Condensed Light"/>
              <a:buChar char="○"/>
              <a:defRPr/>
            </a:lvl5pPr>
            <a:lvl6pPr marL="2743200" lvl="5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Roboto Condensed Light"/>
              <a:buChar char="■"/>
              <a:defRPr/>
            </a:lvl6pPr>
            <a:lvl7pPr marL="3200400" lvl="6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Roboto Condensed Light"/>
              <a:buChar char="●"/>
              <a:defRPr/>
            </a:lvl7pPr>
            <a:lvl8pPr marL="3657600" lvl="7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Roboto Condensed Light"/>
              <a:buChar char="○"/>
              <a:defRPr/>
            </a:lvl8pPr>
            <a:lvl9pPr marL="4114800" lvl="8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Font typeface="Roboto Condensed Light"/>
              <a:buChar char="■"/>
              <a:defRPr/>
            </a:lvl9pPr>
          </a:lstStyle>
          <a:p>
            <a:endParaRPr/>
          </a:p>
        </p:txBody>
      </p:sp>
      <p:sp>
        <p:nvSpPr>
          <p:cNvPr id="42" name="Google Shape;42;p5"/>
          <p:cNvSpPr txBox="1">
            <a:spLocks noGrp="1"/>
          </p:cNvSpPr>
          <p:nvPr>
            <p:ph type="body" idx="2"/>
          </p:nvPr>
        </p:nvSpPr>
        <p:spPr>
          <a:xfrm>
            <a:off x="4572000" y="1768639"/>
            <a:ext cx="3852000" cy="202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250"/>
            </a:lvl1pPr>
            <a:lvl2pPr marL="914400" lvl="1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6"/>
          <p:cNvSpPr txBox="1">
            <a:spLocks noGrp="1"/>
          </p:cNvSpPr>
          <p:nvPr>
            <p:ph type="title"/>
          </p:nvPr>
        </p:nvSpPr>
        <p:spPr>
          <a:xfrm>
            <a:off x="720000" y="539400"/>
            <a:ext cx="7704000" cy="47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pic>
        <p:nvPicPr>
          <p:cNvPr id="45" name="Google Shape;45;p6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oogle Shape;47;p7"/>
          <p:cNvGrpSpPr/>
          <p:nvPr/>
        </p:nvGrpSpPr>
        <p:grpSpPr>
          <a:xfrm rot="10800000">
            <a:off x="-1606416" y="-1302522"/>
            <a:ext cx="6083155" cy="5989695"/>
            <a:chOff x="5171375" y="740975"/>
            <a:chExt cx="867300" cy="853975"/>
          </a:xfrm>
        </p:grpSpPr>
        <p:sp>
          <p:nvSpPr>
            <p:cNvPr id="48" name="Google Shape;48;p7"/>
            <p:cNvSpPr/>
            <p:nvPr/>
          </p:nvSpPr>
          <p:spPr>
            <a:xfrm>
              <a:off x="5171375" y="855225"/>
              <a:ext cx="867300" cy="739725"/>
            </a:xfrm>
            <a:custGeom>
              <a:avLst/>
              <a:gdLst/>
              <a:ahLst/>
              <a:cxnLst/>
              <a:rect l="l" t="t" r="r" b="b"/>
              <a:pathLst>
                <a:path w="34692" h="29589" extrusionOk="0">
                  <a:moveTo>
                    <a:pt x="29555" y="0"/>
                  </a:moveTo>
                  <a:lnTo>
                    <a:pt x="26419" y="3136"/>
                  </a:lnTo>
                  <a:cubicBezTo>
                    <a:pt x="28887" y="5538"/>
                    <a:pt x="30222" y="8807"/>
                    <a:pt x="30222" y="12276"/>
                  </a:cubicBezTo>
                  <a:cubicBezTo>
                    <a:pt x="30222" y="19381"/>
                    <a:pt x="24417" y="25185"/>
                    <a:pt x="17312" y="25185"/>
                  </a:cubicBezTo>
                  <a:cubicBezTo>
                    <a:pt x="10174" y="25185"/>
                    <a:pt x="4370" y="19381"/>
                    <a:pt x="4370" y="12276"/>
                  </a:cubicBezTo>
                  <a:cubicBezTo>
                    <a:pt x="4370" y="8873"/>
                    <a:pt x="5704" y="5638"/>
                    <a:pt x="8072" y="3203"/>
                  </a:cubicBezTo>
                  <a:lnTo>
                    <a:pt x="4937" y="134"/>
                  </a:lnTo>
                  <a:cubicBezTo>
                    <a:pt x="1735" y="3369"/>
                    <a:pt x="0" y="7672"/>
                    <a:pt x="0" y="12276"/>
                  </a:cubicBezTo>
                  <a:cubicBezTo>
                    <a:pt x="0" y="21816"/>
                    <a:pt x="7806" y="29588"/>
                    <a:pt x="17346" y="29588"/>
                  </a:cubicBezTo>
                  <a:cubicBezTo>
                    <a:pt x="26919" y="29588"/>
                    <a:pt x="34692" y="21816"/>
                    <a:pt x="34625" y="12276"/>
                  </a:cubicBezTo>
                  <a:cubicBezTo>
                    <a:pt x="34625" y="7639"/>
                    <a:pt x="32857" y="3303"/>
                    <a:pt x="29555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49;p7"/>
            <p:cNvSpPr/>
            <p:nvPr/>
          </p:nvSpPr>
          <p:spPr>
            <a:xfrm>
              <a:off x="5242250" y="740975"/>
              <a:ext cx="259375" cy="259375"/>
            </a:xfrm>
            <a:custGeom>
              <a:avLst/>
              <a:gdLst/>
              <a:ahLst/>
              <a:cxnLst/>
              <a:rect l="l" t="t" r="r" b="b"/>
              <a:pathLst>
                <a:path w="10375" h="10375" extrusionOk="0">
                  <a:moveTo>
                    <a:pt x="10374" y="0"/>
                  </a:moveTo>
                  <a:lnTo>
                    <a:pt x="0" y="2769"/>
                  </a:lnTo>
                  <a:lnTo>
                    <a:pt x="7572" y="10374"/>
                  </a:lnTo>
                  <a:lnTo>
                    <a:pt x="10374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50" name="Google Shape;50;p7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  <p:sp>
        <p:nvSpPr>
          <p:cNvPr id="51" name="Google Shape;51;p7"/>
          <p:cNvSpPr txBox="1">
            <a:spLocks noGrp="1"/>
          </p:cNvSpPr>
          <p:nvPr>
            <p:ph type="body" idx="1"/>
          </p:nvPr>
        </p:nvSpPr>
        <p:spPr>
          <a:xfrm>
            <a:off x="4951500" y="1263450"/>
            <a:ext cx="3479400" cy="2616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914400" lvl="1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2" name="Google Shape;52;p7"/>
          <p:cNvSpPr txBox="1">
            <a:spLocks noGrp="1"/>
          </p:cNvSpPr>
          <p:nvPr>
            <p:ph type="title"/>
          </p:nvPr>
        </p:nvSpPr>
        <p:spPr>
          <a:xfrm>
            <a:off x="713100" y="914400"/>
            <a:ext cx="3120900" cy="1826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2800"/>
              <a:buNone/>
              <a:defRPr sz="4500"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oogle Shape;54;p8"/>
          <p:cNvGrpSpPr/>
          <p:nvPr/>
        </p:nvGrpSpPr>
        <p:grpSpPr>
          <a:xfrm flipH="1">
            <a:off x="-3209729" y="-150080"/>
            <a:ext cx="8379400" cy="9999105"/>
            <a:chOff x="116750" y="6"/>
            <a:chExt cx="4503843" cy="5374418"/>
          </a:xfrm>
        </p:grpSpPr>
        <p:sp>
          <p:nvSpPr>
            <p:cNvPr id="55" name="Google Shape;55;p8"/>
            <p:cNvSpPr/>
            <p:nvPr/>
          </p:nvSpPr>
          <p:spPr>
            <a:xfrm rot="10800000" flipH="1">
              <a:off x="1896628" y="6"/>
              <a:ext cx="809158" cy="2076716"/>
            </a:xfrm>
            <a:custGeom>
              <a:avLst/>
              <a:gdLst/>
              <a:ahLst/>
              <a:cxnLst/>
              <a:rect l="l" t="t" r="r" b="b"/>
              <a:pathLst>
                <a:path w="7006" h="17981" extrusionOk="0">
                  <a:moveTo>
                    <a:pt x="1369" y="1"/>
                  </a:moveTo>
                  <a:lnTo>
                    <a:pt x="1369" y="11943"/>
                  </a:lnTo>
                  <a:lnTo>
                    <a:pt x="1" y="11943"/>
                  </a:lnTo>
                  <a:lnTo>
                    <a:pt x="3503" y="17980"/>
                  </a:lnTo>
                  <a:lnTo>
                    <a:pt x="7006" y="11943"/>
                  </a:lnTo>
                  <a:lnTo>
                    <a:pt x="5605" y="11943"/>
                  </a:lnTo>
                  <a:lnTo>
                    <a:pt x="563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56;p8"/>
            <p:cNvSpPr/>
            <p:nvPr/>
          </p:nvSpPr>
          <p:spPr>
            <a:xfrm rot="10800000" flipH="1">
              <a:off x="116750" y="1826071"/>
              <a:ext cx="4503843" cy="3548353"/>
            </a:xfrm>
            <a:custGeom>
              <a:avLst/>
              <a:gdLst/>
              <a:ahLst/>
              <a:cxnLst/>
              <a:rect l="l" t="t" r="r" b="b"/>
              <a:pathLst>
                <a:path w="38996" h="30723" extrusionOk="0">
                  <a:moveTo>
                    <a:pt x="1" y="0"/>
                  </a:moveTo>
                  <a:lnTo>
                    <a:pt x="1" y="8907"/>
                  </a:lnTo>
                  <a:cubicBezTo>
                    <a:pt x="201" y="20181"/>
                    <a:pt x="9541" y="29321"/>
                    <a:pt x="20816" y="29321"/>
                  </a:cubicBezTo>
                  <a:lnTo>
                    <a:pt x="32924" y="29255"/>
                  </a:lnTo>
                  <a:lnTo>
                    <a:pt x="32924" y="29255"/>
                  </a:lnTo>
                  <a:lnTo>
                    <a:pt x="32924" y="30722"/>
                  </a:lnTo>
                  <a:lnTo>
                    <a:pt x="38995" y="27220"/>
                  </a:lnTo>
                  <a:lnTo>
                    <a:pt x="32924" y="23717"/>
                  </a:lnTo>
                  <a:lnTo>
                    <a:pt x="32924" y="25085"/>
                  </a:lnTo>
                  <a:lnTo>
                    <a:pt x="20749" y="25051"/>
                  </a:lnTo>
                  <a:cubicBezTo>
                    <a:pt x="11909" y="25051"/>
                    <a:pt x="4504" y="17846"/>
                    <a:pt x="4237" y="8973"/>
                  </a:cubicBezTo>
                  <a:lnTo>
                    <a:pt x="4237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57" name="Google Shape;57;p8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  <p:sp>
        <p:nvSpPr>
          <p:cNvPr id="58" name="Google Shape;58;p8"/>
          <p:cNvSpPr txBox="1">
            <a:spLocks noGrp="1"/>
          </p:cNvSpPr>
          <p:nvPr>
            <p:ph type="title"/>
          </p:nvPr>
        </p:nvSpPr>
        <p:spPr>
          <a:xfrm>
            <a:off x="2472075" y="1320400"/>
            <a:ext cx="5958600" cy="2529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96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Google Shape;60;p9"/>
          <p:cNvGrpSpPr/>
          <p:nvPr/>
        </p:nvGrpSpPr>
        <p:grpSpPr>
          <a:xfrm rot="5400000">
            <a:off x="-1312016" y="-700822"/>
            <a:ext cx="6083155" cy="5989695"/>
            <a:chOff x="5171375" y="740975"/>
            <a:chExt cx="867300" cy="853975"/>
          </a:xfrm>
        </p:grpSpPr>
        <p:sp>
          <p:nvSpPr>
            <p:cNvPr id="61" name="Google Shape;61;p9"/>
            <p:cNvSpPr/>
            <p:nvPr/>
          </p:nvSpPr>
          <p:spPr>
            <a:xfrm>
              <a:off x="5171375" y="855225"/>
              <a:ext cx="867300" cy="739725"/>
            </a:xfrm>
            <a:custGeom>
              <a:avLst/>
              <a:gdLst/>
              <a:ahLst/>
              <a:cxnLst/>
              <a:rect l="l" t="t" r="r" b="b"/>
              <a:pathLst>
                <a:path w="34692" h="29589" extrusionOk="0">
                  <a:moveTo>
                    <a:pt x="29555" y="0"/>
                  </a:moveTo>
                  <a:lnTo>
                    <a:pt x="26419" y="3136"/>
                  </a:lnTo>
                  <a:cubicBezTo>
                    <a:pt x="28887" y="5538"/>
                    <a:pt x="30222" y="8807"/>
                    <a:pt x="30222" y="12276"/>
                  </a:cubicBezTo>
                  <a:cubicBezTo>
                    <a:pt x="30222" y="19381"/>
                    <a:pt x="24417" y="25185"/>
                    <a:pt x="17312" y="25185"/>
                  </a:cubicBezTo>
                  <a:cubicBezTo>
                    <a:pt x="10174" y="25185"/>
                    <a:pt x="4370" y="19381"/>
                    <a:pt x="4370" y="12276"/>
                  </a:cubicBezTo>
                  <a:cubicBezTo>
                    <a:pt x="4370" y="8873"/>
                    <a:pt x="5704" y="5638"/>
                    <a:pt x="8072" y="3203"/>
                  </a:cubicBezTo>
                  <a:lnTo>
                    <a:pt x="4937" y="134"/>
                  </a:lnTo>
                  <a:cubicBezTo>
                    <a:pt x="1735" y="3369"/>
                    <a:pt x="0" y="7672"/>
                    <a:pt x="0" y="12276"/>
                  </a:cubicBezTo>
                  <a:cubicBezTo>
                    <a:pt x="0" y="21816"/>
                    <a:pt x="7806" y="29588"/>
                    <a:pt x="17346" y="29588"/>
                  </a:cubicBezTo>
                  <a:cubicBezTo>
                    <a:pt x="26919" y="29588"/>
                    <a:pt x="34692" y="21816"/>
                    <a:pt x="34625" y="12276"/>
                  </a:cubicBezTo>
                  <a:cubicBezTo>
                    <a:pt x="34625" y="7639"/>
                    <a:pt x="32857" y="3303"/>
                    <a:pt x="29555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62;p9"/>
            <p:cNvSpPr/>
            <p:nvPr/>
          </p:nvSpPr>
          <p:spPr>
            <a:xfrm>
              <a:off x="5242250" y="740975"/>
              <a:ext cx="259375" cy="259375"/>
            </a:xfrm>
            <a:custGeom>
              <a:avLst/>
              <a:gdLst/>
              <a:ahLst/>
              <a:cxnLst/>
              <a:rect l="l" t="t" r="r" b="b"/>
              <a:pathLst>
                <a:path w="10375" h="10375" extrusionOk="0">
                  <a:moveTo>
                    <a:pt x="10374" y="0"/>
                  </a:moveTo>
                  <a:lnTo>
                    <a:pt x="0" y="2769"/>
                  </a:lnTo>
                  <a:lnTo>
                    <a:pt x="7572" y="10374"/>
                  </a:lnTo>
                  <a:lnTo>
                    <a:pt x="10374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63" name="Google Shape;63;p9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  <p:sp>
        <p:nvSpPr>
          <p:cNvPr id="64" name="Google Shape;64;p9"/>
          <p:cNvSpPr txBox="1">
            <a:spLocks noGrp="1"/>
          </p:cNvSpPr>
          <p:nvPr>
            <p:ph type="title"/>
          </p:nvPr>
        </p:nvSpPr>
        <p:spPr>
          <a:xfrm>
            <a:off x="713100" y="1810038"/>
            <a:ext cx="4695000" cy="65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None/>
              <a:defRPr sz="45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65" name="Google Shape;65;p9"/>
          <p:cNvSpPr txBox="1">
            <a:spLocks noGrp="1"/>
          </p:cNvSpPr>
          <p:nvPr>
            <p:ph type="subTitle" idx="1"/>
          </p:nvPr>
        </p:nvSpPr>
        <p:spPr>
          <a:xfrm>
            <a:off x="713100" y="2468263"/>
            <a:ext cx="4695000" cy="1113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0"/>
          <p:cNvSpPr txBox="1">
            <a:spLocks noGrp="1"/>
          </p:cNvSpPr>
          <p:nvPr>
            <p:ph type="title"/>
          </p:nvPr>
        </p:nvSpPr>
        <p:spPr>
          <a:xfrm>
            <a:off x="4572000" y="3086850"/>
            <a:ext cx="3858900" cy="1668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 sz="35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pic>
        <p:nvPicPr>
          <p:cNvPr id="68" name="Google Shape;68;p10"/>
          <p:cNvPicPr preferRelativeResize="0"/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 flipH="1">
            <a:off x="-22225" y="-43000"/>
            <a:ext cx="9144000" cy="5186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dk2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617889B-DBAE-ADF2-D0D6-BBD463D4A5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22427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95" imgH="394" progId="TCLayout.ActiveDocument.1">
                  <p:embed/>
                </p:oleObj>
              </mc:Choice>
              <mc:Fallback>
                <p:oleObj name="think-cell Slide" r:id="rId3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17889B-DBAE-ADF2-D0D6-BBD463D4A5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713100" y="445025"/>
            <a:ext cx="77178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Alata"/>
              <a:buNone/>
              <a:defRPr sz="2800" b="1">
                <a:solidFill>
                  <a:schemeClr val="lt1"/>
                </a:solidFill>
                <a:latin typeface="Alata"/>
                <a:ea typeface="Alata"/>
                <a:cs typeface="Alata"/>
                <a:sym typeface="Alat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yon"/>
              <a:buNone/>
              <a:defRPr sz="3500" b="1">
                <a:solidFill>
                  <a:schemeClr val="dk1"/>
                </a:solidFill>
                <a:latin typeface="Bayon"/>
                <a:ea typeface="Bayon"/>
                <a:cs typeface="Bayon"/>
                <a:sym typeface="Bayon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yon"/>
              <a:buNone/>
              <a:defRPr sz="3500" b="1">
                <a:solidFill>
                  <a:schemeClr val="dk1"/>
                </a:solidFill>
                <a:latin typeface="Bayon"/>
                <a:ea typeface="Bayon"/>
                <a:cs typeface="Bayon"/>
                <a:sym typeface="Bayon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yon"/>
              <a:buNone/>
              <a:defRPr sz="3500" b="1">
                <a:solidFill>
                  <a:schemeClr val="dk1"/>
                </a:solidFill>
                <a:latin typeface="Bayon"/>
                <a:ea typeface="Bayon"/>
                <a:cs typeface="Bayon"/>
                <a:sym typeface="Bayon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yon"/>
              <a:buNone/>
              <a:defRPr sz="3500" b="1">
                <a:solidFill>
                  <a:schemeClr val="dk1"/>
                </a:solidFill>
                <a:latin typeface="Bayon"/>
                <a:ea typeface="Bayon"/>
                <a:cs typeface="Bayon"/>
                <a:sym typeface="Bayon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yon"/>
              <a:buNone/>
              <a:defRPr sz="3500" b="1">
                <a:solidFill>
                  <a:schemeClr val="dk1"/>
                </a:solidFill>
                <a:latin typeface="Bayon"/>
                <a:ea typeface="Bayon"/>
                <a:cs typeface="Bayon"/>
                <a:sym typeface="Bayon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yon"/>
              <a:buNone/>
              <a:defRPr sz="3500" b="1">
                <a:solidFill>
                  <a:schemeClr val="dk1"/>
                </a:solidFill>
                <a:latin typeface="Bayon"/>
                <a:ea typeface="Bayon"/>
                <a:cs typeface="Bayon"/>
                <a:sym typeface="Bayon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yon"/>
              <a:buNone/>
              <a:defRPr sz="3500" b="1">
                <a:solidFill>
                  <a:schemeClr val="dk1"/>
                </a:solidFill>
                <a:latin typeface="Bayon"/>
                <a:ea typeface="Bayon"/>
                <a:cs typeface="Bayon"/>
                <a:sym typeface="Bayon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yon"/>
              <a:buNone/>
              <a:defRPr sz="3500" b="1">
                <a:solidFill>
                  <a:schemeClr val="dk1"/>
                </a:solidFill>
                <a:latin typeface="Bayon"/>
                <a:ea typeface="Bayon"/>
                <a:cs typeface="Bayon"/>
                <a:sym typeface="Bayon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713100" y="1152475"/>
            <a:ext cx="77178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ssistant"/>
              <a:buChar char="●"/>
              <a:defRPr>
                <a:solidFill>
                  <a:schemeClr val="dk1"/>
                </a:solidFill>
                <a:latin typeface="Assistant"/>
                <a:ea typeface="Assistant"/>
                <a:cs typeface="Assistant"/>
                <a:sym typeface="Assistant"/>
              </a:defRPr>
            </a:lvl1pPr>
            <a:lvl2pPr marL="914400" lvl="1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ssistant"/>
              <a:buChar char="○"/>
              <a:defRPr>
                <a:solidFill>
                  <a:schemeClr val="dk1"/>
                </a:solidFill>
                <a:latin typeface="Assistant"/>
                <a:ea typeface="Assistant"/>
                <a:cs typeface="Assistant"/>
                <a:sym typeface="Assistant"/>
              </a:defRPr>
            </a:lvl2pPr>
            <a:lvl3pPr marL="1371600" lvl="2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ssistant"/>
              <a:buChar char="■"/>
              <a:defRPr>
                <a:solidFill>
                  <a:schemeClr val="dk1"/>
                </a:solidFill>
                <a:latin typeface="Assistant"/>
                <a:ea typeface="Assistant"/>
                <a:cs typeface="Assistant"/>
                <a:sym typeface="Assistant"/>
              </a:defRPr>
            </a:lvl3pPr>
            <a:lvl4pPr marL="1828800" lvl="3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ssistant"/>
              <a:buChar char="●"/>
              <a:defRPr>
                <a:solidFill>
                  <a:schemeClr val="dk1"/>
                </a:solidFill>
                <a:latin typeface="Assistant"/>
                <a:ea typeface="Assistant"/>
                <a:cs typeface="Assistant"/>
                <a:sym typeface="Assistant"/>
              </a:defRPr>
            </a:lvl4pPr>
            <a:lvl5pPr marL="2286000" lvl="4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ssistant"/>
              <a:buChar char="○"/>
              <a:defRPr>
                <a:solidFill>
                  <a:schemeClr val="dk1"/>
                </a:solidFill>
                <a:latin typeface="Assistant"/>
                <a:ea typeface="Assistant"/>
                <a:cs typeface="Assistant"/>
                <a:sym typeface="Assistant"/>
              </a:defRPr>
            </a:lvl5pPr>
            <a:lvl6pPr marL="2743200" lvl="5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ssistant"/>
              <a:buChar char="■"/>
              <a:defRPr>
                <a:solidFill>
                  <a:schemeClr val="dk1"/>
                </a:solidFill>
                <a:latin typeface="Assistant"/>
                <a:ea typeface="Assistant"/>
                <a:cs typeface="Assistant"/>
                <a:sym typeface="Assistant"/>
              </a:defRPr>
            </a:lvl6pPr>
            <a:lvl7pPr marL="3200400" lvl="6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ssistant"/>
              <a:buChar char="●"/>
              <a:defRPr>
                <a:solidFill>
                  <a:schemeClr val="dk1"/>
                </a:solidFill>
                <a:latin typeface="Assistant"/>
                <a:ea typeface="Assistant"/>
                <a:cs typeface="Assistant"/>
                <a:sym typeface="Assistant"/>
              </a:defRPr>
            </a:lvl7pPr>
            <a:lvl8pPr marL="3657600" lvl="7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ssistant"/>
              <a:buChar char="○"/>
              <a:defRPr>
                <a:solidFill>
                  <a:schemeClr val="dk1"/>
                </a:solidFill>
                <a:latin typeface="Assistant"/>
                <a:ea typeface="Assistant"/>
                <a:cs typeface="Assistant"/>
                <a:sym typeface="Assistant"/>
              </a:defRPr>
            </a:lvl8pPr>
            <a:lvl9pPr marL="4114800" lvl="8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ssistant"/>
              <a:buChar char="■"/>
              <a:defRPr>
                <a:solidFill>
                  <a:schemeClr val="dk1"/>
                </a:solidFill>
                <a:latin typeface="Assistant"/>
                <a:ea typeface="Assistant"/>
                <a:cs typeface="Assistant"/>
                <a:sym typeface="Assistant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  <p:sldLayoutId id="2147483666" r:id="rId19"/>
    <p:sldLayoutId id="2147483667" r:id="rId20"/>
    <p:sldLayoutId id="2147483668" r:id="rId21"/>
    <p:sldLayoutId id="2147483669" r:id="rId22"/>
    <p:sldLayoutId id="2147483670" r:id="rId23"/>
    <p:sldLayoutId id="2147483671" r:id="rId24"/>
    <p:sldLayoutId id="2147483672" r:id="rId25"/>
    <p:sldLayoutId id="2147483673" r:id="rId26"/>
    <p:sldLayoutId id="2147483674" r:id="rId27"/>
    <p:sldLayoutId id="2147483675" r:id="rId28"/>
    <p:sldLayoutId id="2147483676" r:id="rId29"/>
    <p:sldLayoutId id="2147483677" r:id="rId3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hyperlink" Target="https://shandara.blogspot.com/2018/05/nouvelle-voiture.html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6C2E732-5341-77ED-B579-C2176F79F7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6040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C2E732-5341-77ED-B579-C2176F79F7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9" name="Google Shape;279;p35"/>
          <p:cNvSpPr txBox="1">
            <a:spLocks noGrp="1"/>
          </p:cNvSpPr>
          <p:nvPr>
            <p:ph type="ctrTitle"/>
          </p:nvPr>
        </p:nvSpPr>
        <p:spPr>
          <a:xfrm flipH="1">
            <a:off x="273047" y="1281466"/>
            <a:ext cx="6855512" cy="1875057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-IN" sz="4400"/>
              <a:t>Toyota’s Fuel Economy </a:t>
            </a:r>
            <a:br>
              <a:rPr lang="en-IN" sz="4400"/>
            </a:br>
            <a:r>
              <a:rPr lang="en-IN" sz="4400">
                <a:solidFill>
                  <a:schemeClr val="tx1"/>
                </a:solidFill>
              </a:rPr>
              <a:t>Analysis Platform:</a:t>
            </a:r>
            <a:br>
              <a:rPr lang="en-IN" sz="4400">
                <a:solidFill>
                  <a:schemeClr val="tx1"/>
                </a:solidFill>
              </a:rPr>
            </a:br>
            <a:br>
              <a:rPr lang="en-IN" sz="4400">
                <a:solidFill>
                  <a:schemeClr val="tx1"/>
                </a:solidFill>
              </a:rPr>
            </a:br>
            <a:r>
              <a:rPr lang="en-IN" sz="4400" err="1">
                <a:solidFill>
                  <a:schemeClr val="tx1"/>
                </a:solidFill>
              </a:rPr>
              <a:t>ToyotaEco</a:t>
            </a:r>
          </a:p>
        </p:txBody>
      </p:sp>
      <p:pic>
        <p:nvPicPr>
          <p:cNvPr id="10" name="Picture 9" descr="A close-up of a logo&#10;&#10;Description automatically generated">
            <a:extLst>
              <a:ext uri="{FF2B5EF4-FFF2-40B4-BE49-F238E27FC236}">
                <a16:creationId xmlns:a16="http://schemas.microsoft.com/office/drawing/2014/main" id="{E2BF769A-A1DF-0316-C055-E171D243443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837473B0-CC2E-450A-ABE3-18F120FF3D39}">
                <a1611:picAttrSrcUrl xmlns:a1611="http://schemas.microsoft.com/office/drawing/2016/11/main" r:id="rId7"/>
              </a:ext>
            </a:extLst>
          </a:blip>
          <a:srcRect t="8602" b="29570"/>
          <a:stretch/>
        </p:blipFill>
        <p:spPr>
          <a:xfrm>
            <a:off x="6536198" y="3818711"/>
            <a:ext cx="1961955" cy="1058346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p39"/>
          <p:cNvSpPr txBox="1">
            <a:spLocks noGrp="1"/>
          </p:cNvSpPr>
          <p:nvPr>
            <p:ph type="title"/>
          </p:nvPr>
        </p:nvSpPr>
        <p:spPr>
          <a:xfrm>
            <a:off x="720000" y="539400"/>
            <a:ext cx="7704000" cy="47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en">
                <a:solidFill>
                  <a:schemeClr val="dk1"/>
                </a:solidFill>
              </a:rPr>
              <a:t>Conclusion and Insights: </a:t>
            </a:r>
          </a:p>
        </p:txBody>
      </p:sp>
      <p:sp>
        <p:nvSpPr>
          <p:cNvPr id="341" name="Google Shape;341;p39"/>
          <p:cNvSpPr txBox="1">
            <a:spLocks noGrp="1"/>
          </p:cNvSpPr>
          <p:nvPr>
            <p:ph type="title" idx="2"/>
          </p:nvPr>
        </p:nvSpPr>
        <p:spPr>
          <a:xfrm>
            <a:off x="3607279" y="2294844"/>
            <a:ext cx="19449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verages</a:t>
            </a:r>
          </a:p>
        </p:txBody>
      </p:sp>
      <p:sp>
        <p:nvSpPr>
          <p:cNvPr id="344" name="Google Shape;344;p39"/>
          <p:cNvSpPr txBox="1">
            <a:spLocks noGrp="1"/>
          </p:cNvSpPr>
          <p:nvPr>
            <p:ph type="subTitle" idx="4"/>
          </p:nvPr>
        </p:nvSpPr>
        <p:spPr>
          <a:xfrm>
            <a:off x="277922" y="3088395"/>
            <a:ext cx="2462484" cy="34037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indent="0"/>
            <a:r>
              <a:rPr lang="en"/>
              <a:t>The mileages of gasoline and electric combined cars are significantly higher than their single fuel type counterparts</a:t>
            </a:r>
            <a:endParaRPr lang="en-US"/>
          </a:p>
        </p:txBody>
      </p:sp>
      <p:sp>
        <p:nvSpPr>
          <p:cNvPr id="345" name="Google Shape;345;p39"/>
          <p:cNvSpPr txBox="1">
            <a:spLocks noGrp="1"/>
          </p:cNvSpPr>
          <p:nvPr>
            <p:ph type="title" idx="5"/>
          </p:nvPr>
        </p:nvSpPr>
        <p:spPr>
          <a:xfrm>
            <a:off x="6419443" y="2278477"/>
            <a:ext cx="19449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rends</a:t>
            </a:r>
            <a:endParaRPr/>
          </a:p>
        </p:txBody>
      </p:sp>
      <p:sp>
        <p:nvSpPr>
          <p:cNvPr id="346" name="Google Shape;346;p39"/>
          <p:cNvSpPr txBox="1">
            <a:spLocks noGrp="1"/>
          </p:cNvSpPr>
          <p:nvPr>
            <p:ph type="subTitle" idx="6"/>
          </p:nvPr>
        </p:nvSpPr>
        <p:spPr>
          <a:xfrm>
            <a:off x="6140951" y="2872734"/>
            <a:ext cx="2462484" cy="523681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indent="0"/>
            <a:r>
              <a:rPr lang="en"/>
              <a:t>There has been a consistent upward trend in the fuel economies from 2021 to 2025</a:t>
            </a:r>
          </a:p>
        </p:txBody>
      </p:sp>
      <p:sp>
        <p:nvSpPr>
          <p:cNvPr id="3" name="Google Shape;938;p61">
            <a:extLst>
              <a:ext uri="{FF2B5EF4-FFF2-40B4-BE49-F238E27FC236}">
                <a16:creationId xmlns:a16="http://schemas.microsoft.com/office/drawing/2014/main" id="{B300361B-C2C1-0D21-E5A5-5D4D65A039BF}"/>
              </a:ext>
            </a:extLst>
          </p:cNvPr>
          <p:cNvSpPr/>
          <p:nvPr/>
        </p:nvSpPr>
        <p:spPr>
          <a:xfrm rot="2400000">
            <a:off x="7293940" y="1449432"/>
            <a:ext cx="325163" cy="818447"/>
          </a:xfrm>
          <a:custGeom>
            <a:avLst/>
            <a:gdLst/>
            <a:ahLst/>
            <a:cxnLst/>
            <a:rect l="l" t="t" r="r" b="b"/>
            <a:pathLst>
              <a:path w="6526" h="11075" extrusionOk="0">
                <a:moveTo>
                  <a:pt x="4382" y="1"/>
                </a:moveTo>
                <a:lnTo>
                  <a:pt x="2215" y="3168"/>
                </a:lnTo>
                <a:lnTo>
                  <a:pt x="3335" y="3168"/>
                </a:lnTo>
                <a:lnTo>
                  <a:pt x="3335" y="5430"/>
                </a:lnTo>
                <a:lnTo>
                  <a:pt x="1" y="5430"/>
                </a:lnTo>
                <a:lnTo>
                  <a:pt x="1" y="11074"/>
                </a:lnTo>
                <a:lnTo>
                  <a:pt x="2096" y="11074"/>
                </a:lnTo>
                <a:lnTo>
                  <a:pt x="2096" y="7502"/>
                </a:lnTo>
                <a:lnTo>
                  <a:pt x="5406" y="7502"/>
                </a:lnTo>
                <a:lnTo>
                  <a:pt x="5406" y="3168"/>
                </a:lnTo>
                <a:lnTo>
                  <a:pt x="6526" y="3168"/>
                </a:lnTo>
                <a:lnTo>
                  <a:pt x="4382" y="1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4" name="Google Shape;1058;p61">
            <a:extLst>
              <a:ext uri="{FF2B5EF4-FFF2-40B4-BE49-F238E27FC236}">
                <a16:creationId xmlns:a16="http://schemas.microsoft.com/office/drawing/2014/main" id="{3017CB0C-2271-84F3-D6F7-8A4CAA41A12E}"/>
              </a:ext>
            </a:extLst>
          </p:cNvPr>
          <p:cNvGrpSpPr/>
          <p:nvPr/>
        </p:nvGrpSpPr>
        <p:grpSpPr>
          <a:xfrm>
            <a:off x="1164380" y="1585936"/>
            <a:ext cx="689855" cy="554212"/>
            <a:chOff x="2337221" y="3543798"/>
            <a:chExt cx="387931" cy="263071"/>
          </a:xfrm>
        </p:grpSpPr>
        <p:sp>
          <p:nvSpPr>
            <p:cNvPr id="5" name="Google Shape;1059;p61">
              <a:extLst>
                <a:ext uri="{FF2B5EF4-FFF2-40B4-BE49-F238E27FC236}">
                  <a16:creationId xmlns:a16="http://schemas.microsoft.com/office/drawing/2014/main" id="{87D2A69A-F8A6-FA22-F32D-646E4EDB2009}"/>
                </a:ext>
              </a:extLst>
            </p:cNvPr>
            <p:cNvSpPr/>
            <p:nvPr/>
          </p:nvSpPr>
          <p:spPr>
            <a:xfrm>
              <a:off x="2520351" y="3543798"/>
              <a:ext cx="179843" cy="66624"/>
            </a:xfrm>
            <a:custGeom>
              <a:avLst/>
              <a:gdLst/>
              <a:ahLst/>
              <a:cxnLst/>
              <a:rect l="l" t="t" r="r" b="b"/>
              <a:pathLst>
                <a:path w="5145" h="1906" extrusionOk="0">
                  <a:moveTo>
                    <a:pt x="310" y="0"/>
                  </a:moveTo>
                  <a:lnTo>
                    <a:pt x="0" y="834"/>
                  </a:lnTo>
                  <a:lnTo>
                    <a:pt x="762" y="834"/>
                  </a:lnTo>
                  <a:lnTo>
                    <a:pt x="1167" y="1905"/>
                  </a:lnTo>
                  <a:lnTo>
                    <a:pt x="5144" y="1905"/>
                  </a:lnTo>
                  <a:lnTo>
                    <a:pt x="4430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" name="Google Shape;1060;p61">
              <a:extLst>
                <a:ext uri="{FF2B5EF4-FFF2-40B4-BE49-F238E27FC236}">
                  <a16:creationId xmlns:a16="http://schemas.microsoft.com/office/drawing/2014/main" id="{3431B748-A102-D887-DD3B-6E6E36618003}"/>
                </a:ext>
              </a:extLst>
            </p:cNvPr>
            <p:cNvSpPr/>
            <p:nvPr/>
          </p:nvSpPr>
          <p:spPr>
            <a:xfrm>
              <a:off x="2362179" y="3596230"/>
              <a:ext cx="193161" cy="66624"/>
            </a:xfrm>
            <a:custGeom>
              <a:avLst/>
              <a:gdLst/>
              <a:ahLst/>
              <a:cxnLst/>
              <a:rect l="l" t="t" r="r" b="b"/>
              <a:pathLst>
                <a:path w="5526" h="1906" extrusionOk="0">
                  <a:moveTo>
                    <a:pt x="715" y="1"/>
                  </a:moveTo>
                  <a:lnTo>
                    <a:pt x="1" y="1906"/>
                  </a:lnTo>
                  <a:lnTo>
                    <a:pt x="5526" y="1906"/>
                  </a:lnTo>
                  <a:lnTo>
                    <a:pt x="4835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" name="Google Shape;1061;p61">
              <a:extLst>
                <a:ext uri="{FF2B5EF4-FFF2-40B4-BE49-F238E27FC236}">
                  <a16:creationId xmlns:a16="http://schemas.microsoft.com/office/drawing/2014/main" id="{ED055FE3-CE3D-21EA-277F-877A7A13F61E}"/>
                </a:ext>
              </a:extLst>
            </p:cNvPr>
            <p:cNvSpPr/>
            <p:nvPr/>
          </p:nvSpPr>
          <p:spPr>
            <a:xfrm>
              <a:off x="2437088" y="3731926"/>
              <a:ext cx="43344" cy="22511"/>
            </a:xfrm>
            <a:custGeom>
              <a:avLst/>
              <a:gdLst/>
              <a:ahLst/>
              <a:cxnLst/>
              <a:rect l="l" t="t" r="r" b="b"/>
              <a:pathLst>
                <a:path w="1240" h="644" extrusionOk="0">
                  <a:moveTo>
                    <a:pt x="1" y="0"/>
                  </a:moveTo>
                  <a:lnTo>
                    <a:pt x="1" y="643"/>
                  </a:lnTo>
                  <a:lnTo>
                    <a:pt x="1239" y="643"/>
                  </a:lnTo>
                  <a:lnTo>
                    <a:pt x="1239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" name="Google Shape;1062;p61">
              <a:extLst>
                <a:ext uri="{FF2B5EF4-FFF2-40B4-BE49-F238E27FC236}">
                  <a16:creationId xmlns:a16="http://schemas.microsoft.com/office/drawing/2014/main" id="{E05C4EB1-F8C5-68E7-03CB-1F51997DE553}"/>
                </a:ext>
              </a:extLst>
            </p:cNvPr>
            <p:cNvSpPr/>
            <p:nvPr/>
          </p:nvSpPr>
          <p:spPr>
            <a:xfrm>
              <a:off x="2337221" y="3685296"/>
              <a:ext cx="243077" cy="69141"/>
            </a:xfrm>
            <a:custGeom>
              <a:avLst/>
              <a:gdLst/>
              <a:ahLst/>
              <a:cxnLst/>
              <a:rect l="l" t="t" r="r" b="b"/>
              <a:pathLst>
                <a:path w="6954" h="1978" extrusionOk="0">
                  <a:moveTo>
                    <a:pt x="1667" y="691"/>
                  </a:moveTo>
                  <a:lnTo>
                    <a:pt x="1667" y="1334"/>
                  </a:lnTo>
                  <a:lnTo>
                    <a:pt x="500" y="1334"/>
                  </a:lnTo>
                  <a:lnTo>
                    <a:pt x="500" y="691"/>
                  </a:lnTo>
                  <a:close/>
                  <a:moveTo>
                    <a:pt x="6454" y="691"/>
                  </a:moveTo>
                  <a:lnTo>
                    <a:pt x="6454" y="1334"/>
                  </a:lnTo>
                  <a:lnTo>
                    <a:pt x="5287" y="1334"/>
                  </a:lnTo>
                  <a:lnTo>
                    <a:pt x="5287" y="691"/>
                  </a:lnTo>
                  <a:close/>
                  <a:moveTo>
                    <a:pt x="524" y="1"/>
                  </a:moveTo>
                  <a:cubicBezTo>
                    <a:pt x="238" y="1"/>
                    <a:pt x="0" y="239"/>
                    <a:pt x="0" y="548"/>
                  </a:cubicBezTo>
                  <a:lnTo>
                    <a:pt x="0" y="1787"/>
                  </a:lnTo>
                  <a:cubicBezTo>
                    <a:pt x="0" y="1882"/>
                    <a:pt x="95" y="1977"/>
                    <a:pt x="167" y="1977"/>
                  </a:cubicBezTo>
                  <a:lnTo>
                    <a:pt x="2191" y="1977"/>
                  </a:lnTo>
                  <a:lnTo>
                    <a:pt x="2191" y="691"/>
                  </a:lnTo>
                  <a:lnTo>
                    <a:pt x="4763" y="691"/>
                  </a:lnTo>
                  <a:lnTo>
                    <a:pt x="4763" y="1977"/>
                  </a:lnTo>
                  <a:lnTo>
                    <a:pt x="6787" y="1977"/>
                  </a:lnTo>
                  <a:cubicBezTo>
                    <a:pt x="6883" y="1977"/>
                    <a:pt x="6954" y="1882"/>
                    <a:pt x="6954" y="1787"/>
                  </a:cubicBezTo>
                  <a:lnTo>
                    <a:pt x="6954" y="548"/>
                  </a:lnTo>
                  <a:cubicBezTo>
                    <a:pt x="6954" y="239"/>
                    <a:pt x="6716" y="1"/>
                    <a:pt x="6430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" name="Google Shape;1063;p61">
              <a:extLst>
                <a:ext uri="{FF2B5EF4-FFF2-40B4-BE49-F238E27FC236}">
                  <a16:creationId xmlns:a16="http://schemas.microsoft.com/office/drawing/2014/main" id="{46356E5B-A02E-EE00-A564-846E5B965A9B}"/>
                </a:ext>
              </a:extLst>
            </p:cNvPr>
            <p:cNvSpPr/>
            <p:nvPr/>
          </p:nvSpPr>
          <p:spPr>
            <a:xfrm>
              <a:off x="2595259" y="3679458"/>
              <a:ext cx="29991" cy="21707"/>
            </a:xfrm>
            <a:custGeom>
              <a:avLst/>
              <a:gdLst/>
              <a:ahLst/>
              <a:cxnLst/>
              <a:rect l="l" t="t" r="r" b="b"/>
              <a:pathLst>
                <a:path w="858" h="621" extrusionOk="0">
                  <a:moveTo>
                    <a:pt x="1" y="1"/>
                  </a:moveTo>
                  <a:cubicBezTo>
                    <a:pt x="120" y="168"/>
                    <a:pt x="215" y="382"/>
                    <a:pt x="239" y="620"/>
                  </a:cubicBezTo>
                  <a:lnTo>
                    <a:pt x="858" y="620"/>
                  </a:lnTo>
                  <a:lnTo>
                    <a:pt x="85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" name="Google Shape;1064;p61">
              <a:extLst>
                <a:ext uri="{FF2B5EF4-FFF2-40B4-BE49-F238E27FC236}">
                  <a16:creationId xmlns:a16="http://schemas.microsoft.com/office/drawing/2014/main" id="{3B09B6DA-6F74-000A-5B29-F328AFE39CE3}"/>
                </a:ext>
              </a:extLst>
            </p:cNvPr>
            <p:cNvSpPr/>
            <p:nvPr/>
          </p:nvSpPr>
          <p:spPr>
            <a:xfrm>
              <a:off x="2667686" y="3723606"/>
              <a:ext cx="48308" cy="29991"/>
            </a:xfrm>
            <a:custGeom>
              <a:avLst/>
              <a:gdLst/>
              <a:ahLst/>
              <a:cxnLst/>
              <a:rect l="l" t="t" r="r" b="b"/>
              <a:pathLst>
                <a:path w="1382" h="858" extrusionOk="0">
                  <a:moveTo>
                    <a:pt x="0" y="0"/>
                  </a:moveTo>
                  <a:lnTo>
                    <a:pt x="0" y="214"/>
                  </a:lnTo>
                  <a:cubicBezTo>
                    <a:pt x="0" y="572"/>
                    <a:pt x="310" y="857"/>
                    <a:pt x="667" y="857"/>
                  </a:cubicBezTo>
                  <a:lnTo>
                    <a:pt x="715" y="857"/>
                  </a:lnTo>
                  <a:cubicBezTo>
                    <a:pt x="1072" y="857"/>
                    <a:pt x="1382" y="572"/>
                    <a:pt x="1382" y="214"/>
                  </a:cubicBezTo>
                  <a:lnTo>
                    <a:pt x="1382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" name="Google Shape;1065;p61">
              <a:extLst>
                <a:ext uri="{FF2B5EF4-FFF2-40B4-BE49-F238E27FC236}">
                  <a16:creationId xmlns:a16="http://schemas.microsoft.com/office/drawing/2014/main" id="{F176A920-5E32-2968-2DD4-65726319DC62}"/>
                </a:ext>
              </a:extLst>
            </p:cNvPr>
            <p:cNvSpPr/>
            <p:nvPr/>
          </p:nvSpPr>
          <p:spPr>
            <a:xfrm>
              <a:off x="2524510" y="3776878"/>
              <a:ext cx="47469" cy="29991"/>
            </a:xfrm>
            <a:custGeom>
              <a:avLst/>
              <a:gdLst/>
              <a:ahLst/>
              <a:cxnLst/>
              <a:rect l="l" t="t" r="r" b="b"/>
              <a:pathLst>
                <a:path w="1358" h="858" extrusionOk="0">
                  <a:moveTo>
                    <a:pt x="0" y="0"/>
                  </a:moveTo>
                  <a:lnTo>
                    <a:pt x="0" y="215"/>
                  </a:lnTo>
                  <a:cubicBezTo>
                    <a:pt x="0" y="572"/>
                    <a:pt x="286" y="858"/>
                    <a:pt x="643" y="858"/>
                  </a:cubicBezTo>
                  <a:lnTo>
                    <a:pt x="715" y="858"/>
                  </a:lnTo>
                  <a:cubicBezTo>
                    <a:pt x="1072" y="858"/>
                    <a:pt x="1358" y="572"/>
                    <a:pt x="1358" y="215"/>
                  </a:cubicBezTo>
                  <a:lnTo>
                    <a:pt x="1358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" name="Google Shape;1066;p61">
              <a:extLst>
                <a:ext uri="{FF2B5EF4-FFF2-40B4-BE49-F238E27FC236}">
                  <a16:creationId xmlns:a16="http://schemas.microsoft.com/office/drawing/2014/main" id="{411A4592-DD31-2927-F905-ABD800DBB939}"/>
                </a:ext>
              </a:extLst>
            </p:cNvPr>
            <p:cNvSpPr/>
            <p:nvPr/>
          </p:nvSpPr>
          <p:spPr>
            <a:xfrm>
              <a:off x="2566946" y="3632024"/>
              <a:ext cx="158206" cy="68442"/>
            </a:xfrm>
            <a:custGeom>
              <a:avLst/>
              <a:gdLst/>
              <a:ahLst/>
              <a:cxnLst/>
              <a:rect l="l" t="t" r="r" b="b"/>
              <a:pathLst>
                <a:path w="4526" h="1958" extrusionOk="0">
                  <a:moveTo>
                    <a:pt x="4026" y="691"/>
                  </a:moveTo>
                  <a:lnTo>
                    <a:pt x="4026" y="1358"/>
                  </a:lnTo>
                  <a:lnTo>
                    <a:pt x="2859" y="1358"/>
                  </a:lnTo>
                  <a:lnTo>
                    <a:pt x="2859" y="691"/>
                  </a:lnTo>
                  <a:close/>
                  <a:moveTo>
                    <a:pt x="1" y="1"/>
                  </a:moveTo>
                  <a:lnTo>
                    <a:pt x="263" y="691"/>
                  </a:lnTo>
                  <a:lnTo>
                    <a:pt x="2311" y="691"/>
                  </a:lnTo>
                  <a:lnTo>
                    <a:pt x="2311" y="1953"/>
                  </a:lnTo>
                  <a:lnTo>
                    <a:pt x="4335" y="1953"/>
                  </a:lnTo>
                  <a:cubicBezTo>
                    <a:pt x="4345" y="1956"/>
                    <a:pt x="4355" y="1957"/>
                    <a:pt x="4365" y="1957"/>
                  </a:cubicBezTo>
                  <a:cubicBezTo>
                    <a:pt x="4449" y="1957"/>
                    <a:pt x="4526" y="1872"/>
                    <a:pt x="4526" y="1787"/>
                  </a:cubicBezTo>
                  <a:lnTo>
                    <a:pt x="4526" y="548"/>
                  </a:lnTo>
                  <a:cubicBezTo>
                    <a:pt x="4526" y="239"/>
                    <a:pt x="4288" y="1"/>
                    <a:pt x="4002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1067;p61">
              <a:extLst>
                <a:ext uri="{FF2B5EF4-FFF2-40B4-BE49-F238E27FC236}">
                  <a16:creationId xmlns:a16="http://schemas.microsoft.com/office/drawing/2014/main" id="{35955DA4-D855-F977-881B-25BEF144BF93}"/>
                </a:ext>
              </a:extLst>
            </p:cNvPr>
            <p:cNvSpPr/>
            <p:nvPr/>
          </p:nvSpPr>
          <p:spPr>
            <a:xfrm>
              <a:off x="2345541" y="3776878"/>
              <a:ext cx="47469" cy="29991"/>
            </a:xfrm>
            <a:custGeom>
              <a:avLst/>
              <a:gdLst/>
              <a:ahLst/>
              <a:cxnLst/>
              <a:rect l="l" t="t" r="r" b="b"/>
              <a:pathLst>
                <a:path w="1358" h="858" extrusionOk="0">
                  <a:moveTo>
                    <a:pt x="0" y="0"/>
                  </a:moveTo>
                  <a:lnTo>
                    <a:pt x="0" y="215"/>
                  </a:lnTo>
                  <a:cubicBezTo>
                    <a:pt x="0" y="572"/>
                    <a:pt x="286" y="858"/>
                    <a:pt x="643" y="858"/>
                  </a:cubicBezTo>
                  <a:lnTo>
                    <a:pt x="715" y="858"/>
                  </a:lnTo>
                  <a:cubicBezTo>
                    <a:pt x="1072" y="858"/>
                    <a:pt x="1358" y="572"/>
                    <a:pt x="1358" y="215"/>
                  </a:cubicBezTo>
                  <a:lnTo>
                    <a:pt x="1358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" name="Google Shape;345;p39">
            <a:extLst>
              <a:ext uri="{FF2B5EF4-FFF2-40B4-BE49-F238E27FC236}">
                <a16:creationId xmlns:a16="http://schemas.microsoft.com/office/drawing/2014/main" id="{36719B8A-A84C-63B7-99EC-1933621FD918}"/>
              </a:ext>
            </a:extLst>
          </p:cNvPr>
          <p:cNvSpPr txBox="1">
            <a:spLocks/>
          </p:cNvSpPr>
          <p:nvPr/>
        </p:nvSpPr>
        <p:spPr>
          <a:xfrm>
            <a:off x="506209" y="2260208"/>
            <a:ext cx="1944900" cy="52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500"/>
              <a:buFont typeface="Alata"/>
              <a:buNone/>
              <a:defRPr sz="2000" b="1" i="0" u="none" strike="noStrike" cap="none">
                <a:solidFill>
                  <a:schemeClr val="dk1"/>
                </a:solidFill>
                <a:latin typeface="Alata"/>
                <a:ea typeface="Alata"/>
                <a:cs typeface="Alata"/>
                <a:sym typeface="Alata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Bayon"/>
              <a:buNone/>
              <a:defRPr sz="2500" b="1" i="0" u="none" strike="noStrike" cap="none">
                <a:solidFill>
                  <a:schemeClr val="dk1"/>
                </a:solidFill>
                <a:latin typeface="Bayon"/>
                <a:ea typeface="Bayon"/>
                <a:cs typeface="Bayon"/>
                <a:sym typeface="Bayon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Bayon"/>
              <a:buNone/>
              <a:defRPr sz="2500" b="1" i="0" u="none" strike="noStrike" cap="none">
                <a:solidFill>
                  <a:schemeClr val="dk1"/>
                </a:solidFill>
                <a:latin typeface="Bayon"/>
                <a:ea typeface="Bayon"/>
                <a:cs typeface="Bayon"/>
                <a:sym typeface="Bayon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Bayon"/>
              <a:buNone/>
              <a:defRPr sz="2500" b="1" i="0" u="none" strike="noStrike" cap="none">
                <a:solidFill>
                  <a:schemeClr val="dk1"/>
                </a:solidFill>
                <a:latin typeface="Bayon"/>
                <a:ea typeface="Bayon"/>
                <a:cs typeface="Bayon"/>
                <a:sym typeface="Bayon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Bayon"/>
              <a:buNone/>
              <a:defRPr sz="2500" b="1" i="0" u="none" strike="noStrike" cap="none">
                <a:solidFill>
                  <a:schemeClr val="dk1"/>
                </a:solidFill>
                <a:latin typeface="Bayon"/>
                <a:ea typeface="Bayon"/>
                <a:cs typeface="Bayon"/>
                <a:sym typeface="Bayon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Bayon"/>
              <a:buNone/>
              <a:defRPr sz="2500" b="1" i="0" u="none" strike="noStrike" cap="none">
                <a:solidFill>
                  <a:schemeClr val="dk1"/>
                </a:solidFill>
                <a:latin typeface="Bayon"/>
                <a:ea typeface="Bayon"/>
                <a:cs typeface="Bayon"/>
                <a:sym typeface="Bayon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Bayon"/>
              <a:buNone/>
              <a:defRPr sz="2500" b="1" i="0" u="none" strike="noStrike" cap="none">
                <a:solidFill>
                  <a:schemeClr val="dk1"/>
                </a:solidFill>
                <a:latin typeface="Bayon"/>
                <a:ea typeface="Bayon"/>
                <a:cs typeface="Bayon"/>
                <a:sym typeface="Bayon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Bayon"/>
              <a:buNone/>
              <a:defRPr sz="2500" b="1" i="0" u="none" strike="noStrike" cap="none">
                <a:solidFill>
                  <a:schemeClr val="dk1"/>
                </a:solidFill>
                <a:latin typeface="Bayon"/>
                <a:ea typeface="Bayon"/>
                <a:cs typeface="Bayon"/>
                <a:sym typeface="Bayon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Bayon"/>
              <a:buNone/>
              <a:defRPr sz="2500" b="1" i="0" u="none" strike="noStrike" cap="none">
                <a:solidFill>
                  <a:schemeClr val="dk1"/>
                </a:solidFill>
                <a:latin typeface="Bayon"/>
                <a:ea typeface="Bayon"/>
                <a:cs typeface="Bayon"/>
                <a:sym typeface="Bayon"/>
              </a:defRPr>
            </a:lvl9pPr>
          </a:lstStyle>
          <a:p>
            <a:r>
              <a:rPr lang="en-US"/>
              <a:t>Standouts</a:t>
            </a:r>
          </a:p>
        </p:txBody>
      </p:sp>
      <p:grpSp>
        <p:nvGrpSpPr>
          <p:cNvPr id="23" name="Google Shape;1087;p61">
            <a:extLst>
              <a:ext uri="{FF2B5EF4-FFF2-40B4-BE49-F238E27FC236}">
                <a16:creationId xmlns:a16="http://schemas.microsoft.com/office/drawing/2014/main" id="{AF993179-6DE1-FC66-0C5D-9C6DF15985BE}"/>
              </a:ext>
            </a:extLst>
          </p:cNvPr>
          <p:cNvGrpSpPr/>
          <p:nvPr/>
        </p:nvGrpSpPr>
        <p:grpSpPr>
          <a:xfrm>
            <a:off x="4291210" y="1500300"/>
            <a:ext cx="562535" cy="712290"/>
            <a:chOff x="744776" y="2253504"/>
            <a:chExt cx="306346" cy="387127"/>
          </a:xfrm>
        </p:grpSpPr>
        <p:sp>
          <p:nvSpPr>
            <p:cNvPr id="20" name="Google Shape;1088;p61">
              <a:extLst>
                <a:ext uri="{FF2B5EF4-FFF2-40B4-BE49-F238E27FC236}">
                  <a16:creationId xmlns:a16="http://schemas.microsoft.com/office/drawing/2014/main" id="{F902EDB9-5F3E-36FE-376A-D69201E7C618}"/>
                </a:ext>
              </a:extLst>
            </p:cNvPr>
            <p:cNvSpPr/>
            <p:nvPr/>
          </p:nvSpPr>
          <p:spPr>
            <a:xfrm>
              <a:off x="813847" y="2320932"/>
              <a:ext cx="169846" cy="252270"/>
            </a:xfrm>
            <a:custGeom>
              <a:avLst/>
              <a:gdLst/>
              <a:ahLst/>
              <a:cxnLst/>
              <a:rect l="l" t="t" r="r" b="b"/>
              <a:pathLst>
                <a:path w="4859" h="7217" extrusionOk="0">
                  <a:moveTo>
                    <a:pt x="4287" y="1382"/>
                  </a:moveTo>
                  <a:lnTo>
                    <a:pt x="4287" y="2025"/>
                  </a:lnTo>
                  <a:lnTo>
                    <a:pt x="2858" y="2025"/>
                  </a:lnTo>
                  <a:lnTo>
                    <a:pt x="2858" y="1382"/>
                  </a:lnTo>
                  <a:close/>
                  <a:moveTo>
                    <a:pt x="1930" y="739"/>
                  </a:moveTo>
                  <a:lnTo>
                    <a:pt x="2382" y="1239"/>
                  </a:lnTo>
                  <a:lnTo>
                    <a:pt x="1215" y="2359"/>
                  </a:lnTo>
                  <a:lnTo>
                    <a:pt x="405" y="1525"/>
                  </a:lnTo>
                  <a:lnTo>
                    <a:pt x="858" y="1073"/>
                  </a:lnTo>
                  <a:lnTo>
                    <a:pt x="1215" y="1430"/>
                  </a:lnTo>
                  <a:lnTo>
                    <a:pt x="1930" y="739"/>
                  </a:lnTo>
                  <a:close/>
                  <a:moveTo>
                    <a:pt x="4287" y="3502"/>
                  </a:moveTo>
                  <a:lnTo>
                    <a:pt x="4287" y="4145"/>
                  </a:lnTo>
                  <a:lnTo>
                    <a:pt x="2858" y="4145"/>
                  </a:lnTo>
                  <a:lnTo>
                    <a:pt x="2858" y="3502"/>
                  </a:lnTo>
                  <a:close/>
                  <a:moveTo>
                    <a:pt x="1930" y="2835"/>
                  </a:moveTo>
                  <a:lnTo>
                    <a:pt x="2382" y="3311"/>
                  </a:lnTo>
                  <a:lnTo>
                    <a:pt x="1215" y="4454"/>
                  </a:lnTo>
                  <a:lnTo>
                    <a:pt x="405" y="3621"/>
                  </a:lnTo>
                  <a:lnTo>
                    <a:pt x="858" y="3168"/>
                  </a:lnTo>
                  <a:lnTo>
                    <a:pt x="1215" y="3525"/>
                  </a:lnTo>
                  <a:lnTo>
                    <a:pt x="1930" y="2835"/>
                  </a:lnTo>
                  <a:close/>
                  <a:moveTo>
                    <a:pt x="4287" y="5597"/>
                  </a:moveTo>
                  <a:lnTo>
                    <a:pt x="4287" y="6264"/>
                  </a:lnTo>
                  <a:lnTo>
                    <a:pt x="2858" y="6264"/>
                  </a:lnTo>
                  <a:lnTo>
                    <a:pt x="2858" y="5597"/>
                  </a:lnTo>
                  <a:close/>
                  <a:moveTo>
                    <a:pt x="1930" y="4883"/>
                  </a:moveTo>
                  <a:lnTo>
                    <a:pt x="2382" y="5359"/>
                  </a:lnTo>
                  <a:lnTo>
                    <a:pt x="1215" y="6502"/>
                  </a:lnTo>
                  <a:lnTo>
                    <a:pt x="405" y="5669"/>
                  </a:lnTo>
                  <a:lnTo>
                    <a:pt x="858" y="5216"/>
                  </a:lnTo>
                  <a:lnTo>
                    <a:pt x="1215" y="5573"/>
                  </a:lnTo>
                  <a:lnTo>
                    <a:pt x="1930" y="4883"/>
                  </a:lnTo>
                  <a:close/>
                  <a:moveTo>
                    <a:pt x="1" y="1"/>
                  </a:moveTo>
                  <a:lnTo>
                    <a:pt x="1" y="7217"/>
                  </a:lnTo>
                  <a:lnTo>
                    <a:pt x="4859" y="7217"/>
                  </a:lnTo>
                  <a:lnTo>
                    <a:pt x="4859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1089;p61">
              <a:extLst>
                <a:ext uri="{FF2B5EF4-FFF2-40B4-BE49-F238E27FC236}">
                  <a16:creationId xmlns:a16="http://schemas.microsoft.com/office/drawing/2014/main" id="{AE9E32E4-7325-D7A9-F0B2-9F60625C2429}"/>
                </a:ext>
              </a:extLst>
            </p:cNvPr>
            <p:cNvSpPr/>
            <p:nvPr/>
          </p:nvSpPr>
          <p:spPr>
            <a:xfrm>
              <a:off x="744776" y="2253504"/>
              <a:ext cx="306346" cy="387127"/>
            </a:xfrm>
            <a:custGeom>
              <a:avLst/>
              <a:gdLst/>
              <a:ahLst/>
              <a:cxnLst/>
              <a:rect l="l" t="t" r="r" b="b"/>
              <a:pathLst>
                <a:path w="8764" h="11075" extrusionOk="0">
                  <a:moveTo>
                    <a:pt x="0" y="1"/>
                  </a:moveTo>
                  <a:lnTo>
                    <a:pt x="0" y="11075"/>
                  </a:lnTo>
                  <a:lnTo>
                    <a:pt x="8764" y="11075"/>
                  </a:lnTo>
                  <a:lnTo>
                    <a:pt x="8764" y="1"/>
                  </a:lnTo>
                  <a:lnTo>
                    <a:pt x="6501" y="1"/>
                  </a:lnTo>
                  <a:lnTo>
                    <a:pt x="6501" y="1287"/>
                  </a:lnTo>
                  <a:lnTo>
                    <a:pt x="7478" y="1287"/>
                  </a:lnTo>
                  <a:lnTo>
                    <a:pt x="7478" y="9789"/>
                  </a:lnTo>
                  <a:lnTo>
                    <a:pt x="1310" y="9789"/>
                  </a:lnTo>
                  <a:lnTo>
                    <a:pt x="1310" y="1287"/>
                  </a:lnTo>
                  <a:lnTo>
                    <a:pt x="2310" y="1287"/>
                  </a:lnTo>
                  <a:lnTo>
                    <a:pt x="2310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090;p61">
              <a:extLst>
                <a:ext uri="{FF2B5EF4-FFF2-40B4-BE49-F238E27FC236}">
                  <a16:creationId xmlns:a16="http://schemas.microsoft.com/office/drawing/2014/main" id="{F3A0451A-24A0-7FC6-A6FB-3B52DC92EE8D}"/>
                </a:ext>
              </a:extLst>
            </p:cNvPr>
            <p:cNvSpPr/>
            <p:nvPr/>
          </p:nvSpPr>
          <p:spPr>
            <a:xfrm>
              <a:off x="847160" y="2253504"/>
              <a:ext cx="101579" cy="45826"/>
            </a:xfrm>
            <a:custGeom>
              <a:avLst/>
              <a:gdLst/>
              <a:ahLst/>
              <a:cxnLst/>
              <a:rect l="l" t="t" r="r" b="b"/>
              <a:pathLst>
                <a:path w="2906" h="1311" extrusionOk="0">
                  <a:moveTo>
                    <a:pt x="0" y="1"/>
                  </a:moveTo>
                  <a:lnTo>
                    <a:pt x="0" y="1311"/>
                  </a:lnTo>
                  <a:lnTo>
                    <a:pt x="2906" y="1311"/>
                  </a:lnTo>
                  <a:lnTo>
                    <a:pt x="2906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" name="Google Shape;346;p39">
            <a:extLst>
              <a:ext uri="{FF2B5EF4-FFF2-40B4-BE49-F238E27FC236}">
                <a16:creationId xmlns:a16="http://schemas.microsoft.com/office/drawing/2014/main" id="{A39ECFF5-771F-4466-2645-C5C5F1887C37}"/>
              </a:ext>
            </a:extLst>
          </p:cNvPr>
          <p:cNvSpPr txBox="1">
            <a:spLocks/>
          </p:cNvSpPr>
          <p:nvPr/>
        </p:nvSpPr>
        <p:spPr>
          <a:xfrm>
            <a:off x="3337317" y="3133521"/>
            <a:ext cx="2462484" cy="523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ssistant"/>
              <a:buNone/>
              <a:defRPr sz="1400" b="0" i="0" u="none" strike="noStrike" cap="none">
                <a:solidFill>
                  <a:schemeClr val="dk1"/>
                </a:solidFill>
                <a:latin typeface="Assistant"/>
                <a:ea typeface="Assistant"/>
                <a:cs typeface="Assistant"/>
                <a:sym typeface="Assistant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ssistant"/>
              <a:buNone/>
              <a:defRPr sz="1400" b="0" i="0" u="none" strike="noStrike" cap="none">
                <a:solidFill>
                  <a:schemeClr val="dk1"/>
                </a:solidFill>
                <a:latin typeface="Assistant"/>
                <a:ea typeface="Assistant"/>
                <a:cs typeface="Assistant"/>
                <a:sym typeface="Assistant"/>
              </a:defRPr>
            </a:lvl2pPr>
            <a:lvl3pPr marL="1371600" marR="0" lvl="2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ssistant"/>
              <a:buNone/>
              <a:defRPr sz="1400" b="0" i="0" u="none" strike="noStrike" cap="none">
                <a:solidFill>
                  <a:schemeClr val="dk1"/>
                </a:solidFill>
                <a:latin typeface="Assistant"/>
                <a:ea typeface="Assistant"/>
                <a:cs typeface="Assistant"/>
                <a:sym typeface="Assistant"/>
              </a:defRPr>
            </a:lvl3pPr>
            <a:lvl4pPr marL="1828800" marR="0" lvl="3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ssistant"/>
              <a:buNone/>
              <a:defRPr sz="1400" b="0" i="0" u="none" strike="noStrike" cap="none">
                <a:solidFill>
                  <a:schemeClr val="dk1"/>
                </a:solidFill>
                <a:latin typeface="Assistant"/>
                <a:ea typeface="Assistant"/>
                <a:cs typeface="Assistant"/>
                <a:sym typeface="Assistant"/>
              </a:defRPr>
            </a:lvl4pPr>
            <a:lvl5pPr marL="2286000" marR="0" lvl="4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ssistant"/>
              <a:buNone/>
              <a:defRPr sz="1400" b="0" i="0" u="none" strike="noStrike" cap="none">
                <a:solidFill>
                  <a:schemeClr val="dk1"/>
                </a:solidFill>
                <a:latin typeface="Assistant"/>
                <a:ea typeface="Assistant"/>
                <a:cs typeface="Assistant"/>
                <a:sym typeface="Assistant"/>
              </a:defRPr>
            </a:lvl5pPr>
            <a:lvl6pPr marL="2743200" marR="0" lvl="5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ssistant"/>
              <a:buNone/>
              <a:defRPr sz="1400" b="0" i="0" u="none" strike="noStrike" cap="none">
                <a:solidFill>
                  <a:schemeClr val="dk1"/>
                </a:solidFill>
                <a:latin typeface="Assistant"/>
                <a:ea typeface="Assistant"/>
                <a:cs typeface="Assistant"/>
                <a:sym typeface="Assistant"/>
              </a:defRPr>
            </a:lvl6pPr>
            <a:lvl7pPr marL="3200400" marR="0" lvl="6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ssistant"/>
              <a:buNone/>
              <a:defRPr sz="1400" b="0" i="0" u="none" strike="noStrike" cap="none">
                <a:solidFill>
                  <a:schemeClr val="dk1"/>
                </a:solidFill>
                <a:latin typeface="Assistant"/>
                <a:ea typeface="Assistant"/>
                <a:cs typeface="Assistant"/>
                <a:sym typeface="Assistant"/>
              </a:defRPr>
            </a:lvl7pPr>
            <a:lvl8pPr marL="3657600" marR="0" lvl="7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ssistant"/>
              <a:buNone/>
              <a:defRPr sz="1400" b="0" i="0" u="none" strike="noStrike" cap="none">
                <a:solidFill>
                  <a:schemeClr val="dk1"/>
                </a:solidFill>
                <a:latin typeface="Assistant"/>
                <a:ea typeface="Assistant"/>
                <a:cs typeface="Assistant"/>
                <a:sym typeface="Assistant"/>
              </a:defRPr>
            </a:lvl8pPr>
            <a:lvl9pPr marL="4114800" marR="0" lvl="8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ssistant"/>
              <a:buNone/>
              <a:defRPr sz="1400" b="0" i="0" u="none" strike="noStrike" cap="none">
                <a:solidFill>
                  <a:schemeClr val="dk1"/>
                </a:solidFill>
                <a:latin typeface="Assistant"/>
                <a:ea typeface="Assistant"/>
                <a:cs typeface="Assistant"/>
                <a:sym typeface="Assistant"/>
              </a:defRPr>
            </a:lvl9pPr>
          </a:lstStyle>
          <a:p>
            <a:pPr marL="0" indent="0"/>
            <a:r>
              <a:rPr lang="en"/>
              <a:t>The year with the greatest number of car models is 2024, and said cars showed great improvement in overall mileage of all models.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Google Shape;284;p36"/>
          <p:cNvSpPr txBox="1">
            <a:spLocks noGrp="1"/>
          </p:cNvSpPr>
          <p:nvPr>
            <p:ph type="title"/>
          </p:nvPr>
        </p:nvSpPr>
        <p:spPr>
          <a:xfrm>
            <a:off x="720000" y="539400"/>
            <a:ext cx="7704000" cy="47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en"/>
              <a:t>Table of Contents:</a:t>
            </a:r>
            <a:endParaRPr lang="en">
              <a:solidFill>
                <a:schemeClr val="dk1"/>
              </a:solidFill>
            </a:endParaRPr>
          </a:p>
        </p:txBody>
      </p:sp>
      <p:graphicFrame>
        <p:nvGraphicFramePr>
          <p:cNvPr id="286" name="Google Shape;286;p36"/>
          <p:cNvGraphicFramePr/>
          <p:nvPr>
            <p:extLst>
              <p:ext uri="{D42A27DB-BD31-4B8C-83A1-F6EECF244321}">
                <p14:modId xmlns:p14="http://schemas.microsoft.com/office/powerpoint/2010/main" val="3753950487"/>
              </p:ext>
            </p:extLst>
          </p:nvPr>
        </p:nvGraphicFramePr>
        <p:xfrm>
          <a:off x="723078" y="1287034"/>
          <a:ext cx="8318570" cy="2957682"/>
        </p:xfrm>
        <a:graphic>
          <a:graphicData uri="http://schemas.openxmlformats.org/drawingml/2006/table">
            <a:tbl>
              <a:tblPr>
                <a:noFill/>
                <a:tableStyleId>{AE756A54-2C67-4CA9-9590-F2874584B3D1}</a:tableStyleId>
              </a:tblPr>
              <a:tblGrid>
                <a:gridCol w="24556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629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2947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b="1">
                          <a:solidFill>
                            <a:schemeClr val="hlink"/>
                          </a:solidFill>
                          <a:uFill>
                            <a:noFill/>
                          </a:uFill>
                          <a:latin typeface="Assistant"/>
                          <a:ea typeface="Assistant"/>
                          <a:cs typeface="Assistant"/>
                        </a:rPr>
                        <a:t>Team Introduction</a:t>
                      </a:r>
                      <a:endParaRPr sz="1200" b="1">
                        <a:solidFill>
                          <a:schemeClr val="dk1"/>
                        </a:solidFill>
                        <a:latin typeface="Assistant"/>
                        <a:ea typeface="Assistant"/>
                        <a:cs typeface="Assistant"/>
                        <a:sym typeface="Assistant"/>
                      </a:endParaRPr>
                    </a:p>
                  </a:txBody>
                  <a:tcPr marL="91425" marR="91425" marT="91425" marB="91425">
                    <a:lnL w="19050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600"/>
                        </a:spcAft>
                        <a:buNone/>
                      </a:pPr>
                      <a:r>
                        <a:rPr lang="en" sz="1200">
                          <a:solidFill>
                            <a:schemeClr val="dk1"/>
                          </a:solidFill>
                          <a:latin typeface="Assistant"/>
                          <a:ea typeface="Assistant"/>
                          <a:cs typeface="Assistant"/>
                        </a:rPr>
                        <a:t>Get introduced to the team of developers who have worked on creating this solution!</a:t>
                      </a:r>
                      <a:endParaRPr lang="en" sz="1200">
                        <a:solidFill>
                          <a:schemeClr val="dk1"/>
                        </a:solidFill>
                        <a:latin typeface="Assistant"/>
                        <a:ea typeface="Assistant"/>
                        <a:cs typeface="Assistant"/>
                        <a:sym typeface="Assistant"/>
                      </a:endParaRPr>
                    </a:p>
                  </a:txBody>
                  <a:tcPr marL="91425" marR="91425" marT="91425" marB="91425">
                    <a:lnL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2947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b="1">
                          <a:solidFill>
                            <a:schemeClr val="hlink"/>
                          </a:solidFill>
                          <a:uFill>
                            <a:noFill/>
                          </a:uFill>
                          <a:latin typeface="Assistant"/>
                          <a:ea typeface="Assistant"/>
                          <a:cs typeface="Assistant"/>
                        </a:rPr>
                        <a:t>Challenge Overview</a:t>
                      </a:r>
                      <a:endParaRPr lang="en" sz="1200" b="1">
                        <a:solidFill>
                          <a:schemeClr val="hlink"/>
                        </a:solidFill>
                        <a:uFill>
                          <a:noFill/>
                        </a:uFill>
                        <a:latin typeface="Assistant"/>
                        <a:ea typeface="Assistant"/>
                        <a:cs typeface="Assistant"/>
                        <a:sym typeface="Assistant"/>
                      </a:endParaRPr>
                    </a:p>
                  </a:txBody>
                  <a:tcPr marL="91425" marR="91425" marT="91425" marB="91425">
                    <a:lnL w="19050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  <a:buNone/>
                      </a:pPr>
                      <a:r>
                        <a:rPr lang="en" sz="1200">
                          <a:solidFill>
                            <a:schemeClr val="dk1"/>
                          </a:solidFill>
                          <a:latin typeface="Assistant"/>
                          <a:ea typeface="Assistant"/>
                          <a:cs typeface="Assistant"/>
                        </a:rPr>
                        <a:t>Review the problem statement for which we have created a possible solution!</a:t>
                      </a:r>
                      <a:endParaRPr sz="1200">
                        <a:solidFill>
                          <a:schemeClr val="dk1"/>
                        </a:solidFill>
                        <a:latin typeface="Assistant"/>
                        <a:ea typeface="Assistant"/>
                        <a:cs typeface="Assistant"/>
                        <a:sym typeface="Assistant"/>
                      </a:endParaRPr>
                    </a:p>
                  </a:txBody>
                  <a:tcPr marL="91425" marR="91425" marT="91425" marB="91425">
                    <a:lnL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2947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b="1">
                          <a:solidFill>
                            <a:schemeClr val="hlink"/>
                          </a:solidFill>
                          <a:uFill>
                            <a:noFill/>
                          </a:uFill>
                          <a:latin typeface="Assistant"/>
                          <a:ea typeface="Assistant"/>
                          <a:cs typeface="Assistant"/>
                        </a:rPr>
                        <a:t>Importance of the Problem</a:t>
                      </a:r>
                      <a:endParaRPr lang="en" sz="1200" b="1">
                        <a:solidFill>
                          <a:schemeClr val="hlink"/>
                        </a:solidFill>
                        <a:uFill>
                          <a:noFill/>
                        </a:uFill>
                        <a:latin typeface="Assistant"/>
                        <a:ea typeface="Assistant"/>
                        <a:cs typeface="Assistant"/>
                        <a:sym typeface="Assistant"/>
                      </a:endParaRPr>
                    </a:p>
                  </a:txBody>
                  <a:tcPr marL="91425" marR="91425" marT="91425" marB="91425">
                    <a:lnL w="19050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600"/>
                        </a:spcAft>
                        <a:buNone/>
                      </a:pPr>
                      <a:r>
                        <a:rPr lang="en" sz="1200">
                          <a:solidFill>
                            <a:schemeClr val="dk1"/>
                          </a:solidFill>
                          <a:latin typeface="Assistant"/>
                          <a:ea typeface="Assistant"/>
                          <a:cs typeface="Assistant"/>
                        </a:rPr>
                        <a:t>Discuss why this problem is crucial to address.</a:t>
                      </a:r>
                      <a:endParaRPr lang="en" sz="1200">
                        <a:solidFill>
                          <a:schemeClr val="dk1"/>
                        </a:solidFill>
                        <a:latin typeface="Assistant"/>
                        <a:ea typeface="Assistant"/>
                        <a:cs typeface="Assistant"/>
                        <a:sym typeface="Assistant"/>
                      </a:endParaRPr>
                    </a:p>
                  </a:txBody>
                  <a:tcPr marL="91425" marR="91425" marT="91425" marB="91425">
                    <a:lnL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2947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b="1">
                          <a:solidFill>
                            <a:schemeClr val="hlink"/>
                          </a:solidFill>
                          <a:uFill>
                            <a:noFill/>
                          </a:uFill>
                          <a:latin typeface="Assistant"/>
                          <a:ea typeface="Assistant"/>
                          <a:cs typeface="Assistant"/>
                        </a:rPr>
                        <a:t>Proposed Solution Presentation</a:t>
                      </a:r>
                      <a:endParaRPr lang="en" sz="1200" b="1">
                        <a:solidFill>
                          <a:schemeClr val="hlink"/>
                        </a:solidFill>
                        <a:uFill>
                          <a:noFill/>
                        </a:uFill>
                        <a:latin typeface="Assistant"/>
                        <a:ea typeface="Assistant"/>
                        <a:cs typeface="Assistant"/>
                        <a:sym typeface="Assistant"/>
                      </a:endParaRPr>
                    </a:p>
                  </a:txBody>
                  <a:tcPr marL="91425" marR="91425" marT="91425" marB="91425">
                    <a:lnL w="19050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600"/>
                        </a:spcAft>
                        <a:buNone/>
                      </a:pPr>
                      <a:r>
                        <a:rPr lang="en" sz="1200">
                          <a:solidFill>
                            <a:schemeClr val="dk1"/>
                          </a:solidFill>
                          <a:latin typeface="Assistant"/>
                          <a:ea typeface="Assistant"/>
                          <a:cs typeface="Assistant"/>
                        </a:rPr>
                        <a:t>Present the solution we have prepared to address and solve this problem!</a:t>
                      </a:r>
                      <a:endParaRPr lang="en" sz="1200">
                        <a:solidFill>
                          <a:schemeClr val="dk1"/>
                        </a:solidFill>
                        <a:latin typeface="Assistant"/>
                        <a:ea typeface="Assistant"/>
                        <a:cs typeface="Assistant"/>
                        <a:sym typeface="Assistant"/>
                      </a:endParaRPr>
                    </a:p>
                  </a:txBody>
                  <a:tcPr marL="91425" marR="91425" marT="91425" marB="91425">
                    <a:lnL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2947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b="1">
                          <a:solidFill>
                            <a:schemeClr val="hlink"/>
                          </a:solidFill>
                          <a:uFill>
                            <a:noFill/>
                          </a:uFill>
                          <a:latin typeface="Assistant"/>
                          <a:ea typeface="Assistant"/>
                          <a:cs typeface="Assistant"/>
                        </a:rPr>
                        <a:t>Key Function and Features</a:t>
                      </a:r>
                      <a:endParaRPr lang="en" sz="1200" b="1">
                        <a:solidFill>
                          <a:schemeClr val="hlink"/>
                        </a:solidFill>
                        <a:uFill>
                          <a:noFill/>
                        </a:uFill>
                        <a:latin typeface="Assistant"/>
                        <a:ea typeface="Assistant"/>
                        <a:cs typeface="Assistant"/>
                        <a:sym typeface="Assistant"/>
                      </a:endParaRPr>
                    </a:p>
                  </a:txBody>
                  <a:tcPr marL="91425" marR="91425" marT="91425" marB="91425">
                    <a:lnL w="19050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>
                          <a:solidFill>
                            <a:schemeClr val="dk1"/>
                          </a:solidFill>
                          <a:latin typeface="Assistant"/>
                          <a:ea typeface="Assistant"/>
                          <a:cs typeface="Assistant"/>
                        </a:rPr>
                        <a:t>Dive deep into the functions of this solution, and the different features this tool offers!</a:t>
                      </a:r>
                      <a:endParaRPr lang="en" sz="1200">
                        <a:solidFill>
                          <a:schemeClr val="dk1"/>
                        </a:solidFill>
                        <a:latin typeface="Assistant"/>
                        <a:ea typeface="Assistant"/>
                        <a:cs typeface="Assistant"/>
                        <a:sym typeface="Assistant"/>
                      </a:endParaRPr>
                    </a:p>
                  </a:txBody>
                  <a:tcPr marL="91425" marR="91425" marT="91425" marB="91425">
                    <a:lnL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2947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200" b="1">
                          <a:solidFill>
                            <a:schemeClr val="hlink"/>
                          </a:solidFill>
                          <a:uFill>
                            <a:noFill/>
                          </a:uFill>
                          <a:latin typeface="Assistant"/>
                          <a:ea typeface="Assistant"/>
                          <a:cs typeface="Assistant"/>
                        </a:rPr>
                        <a:t>Impact of the Solution</a:t>
                      </a:r>
                      <a:endParaRPr lang="en" sz="1200" b="1">
                        <a:solidFill>
                          <a:schemeClr val="hlink"/>
                        </a:solidFill>
                        <a:uFill>
                          <a:noFill/>
                        </a:uFill>
                        <a:latin typeface="Assistant"/>
                        <a:ea typeface="Assistant"/>
                        <a:cs typeface="Assistant"/>
                        <a:sym typeface="Assistant"/>
                      </a:endParaRPr>
                    </a:p>
                  </a:txBody>
                  <a:tcPr marL="91425" marR="91425" marT="91425" marB="91425">
                    <a:lnL w="19050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9050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1600"/>
                        </a:spcAft>
                        <a:buNone/>
                      </a:pPr>
                      <a:r>
                        <a:rPr lang="en" sz="1200">
                          <a:solidFill>
                            <a:schemeClr val="dk1"/>
                          </a:solidFill>
                          <a:latin typeface="Assistant"/>
                          <a:ea typeface="Assistant"/>
                          <a:cs typeface="Assistant"/>
                        </a:rPr>
                        <a:t>Go over the impact which this proposed solution can have on the targeted domain. </a:t>
                      </a:r>
                      <a:endParaRPr lang="en" sz="1200">
                        <a:solidFill>
                          <a:schemeClr val="dk1"/>
                        </a:solidFill>
                        <a:latin typeface="Assistant"/>
                        <a:ea typeface="Assistant"/>
                        <a:cs typeface="Assistant"/>
                        <a:sym typeface="Assistant"/>
                      </a:endParaRPr>
                    </a:p>
                  </a:txBody>
                  <a:tcPr marL="91425" marR="91425" marT="91425" marB="91425">
                    <a:lnL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9050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chemeClr val="accent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9050" cap="flat" cmpd="sng">
                      <a:solidFill>
                        <a:schemeClr val="accent2">
                          <a:alpha val="0"/>
                        </a:scheme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38"/>
          <p:cNvSpPr txBox="1">
            <a:spLocks noGrp="1"/>
          </p:cNvSpPr>
          <p:nvPr>
            <p:ph type="title"/>
          </p:nvPr>
        </p:nvSpPr>
        <p:spPr>
          <a:xfrm>
            <a:off x="92333" y="2243590"/>
            <a:ext cx="4695000" cy="65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6600">
                <a:solidFill>
                  <a:schemeClr val="lt1"/>
                </a:solidFill>
              </a:rPr>
              <a:t>Our</a:t>
            </a:r>
            <a:r>
              <a:rPr lang="en" sz="6600"/>
              <a:t> Team:</a:t>
            </a:r>
            <a:endParaRPr lang="en-US" sz="6600">
              <a:solidFill>
                <a:schemeClr val="dk1"/>
              </a:solidFill>
            </a:endParaRPr>
          </a:p>
        </p:txBody>
      </p:sp>
      <p:sp>
        <p:nvSpPr>
          <p:cNvPr id="317" name="Google Shape;317;p38"/>
          <p:cNvSpPr txBox="1">
            <a:spLocks noGrp="1"/>
          </p:cNvSpPr>
          <p:nvPr>
            <p:ph type="subTitle" idx="1"/>
          </p:nvPr>
        </p:nvSpPr>
        <p:spPr>
          <a:xfrm>
            <a:off x="4890963" y="4902"/>
            <a:ext cx="4251594" cy="4602019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indent="0"/>
            <a:r>
              <a:rPr lang="en" sz="2800" b="1">
                <a:latin typeface="Alata"/>
              </a:rPr>
              <a:t>Suchi Jain</a:t>
            </a:r>
          </a:p>
          <a:p>
            <a:pPr marL="0" indent="0"/>
            <a:endParaRPr lang="en" sz="2800" b="1">
              <a:latin typeface="Alata"/>
            </a:endParaRPr>
          </a:p>
          <a:p>
            <a:pPr marL="0" indent="0"/>
            <a:r>
              <a:rPr lang="en" sz="2800" b="1" err="1">
                <a:latin typeface="Alata"/>
              </a:rPr>
              <a:t>Eshann</a:t>
            </a:r>
            <a:r>
              <a:rPr lang="en" sz="2800" b="1">
                <a:latin typeface="Alata"/>
              </a:rPr>
              <a:t> Saxena</a:t>
            </a:r>
          </a:p>
          <a:p>
            <a:pPr marL="0" indent="0"/>
            <a:endParaRPr lang="en" sz="2800" b="1">
              <a:latin typeface="Alata"/>
            </a:endParaRPr>
          </a:p>
          <a:p>
            <a:pPr marL="0" indent="0"/>
            <a:r>
              <a:rPr lang="en" sz="2800" b="1">
                <a:latin typeface="Alata"/>
              </a:rPr>
              <a:t>Pankti </a:t>
            </a:r>
            <a:r>
              <a:rPr lang="en" sz="2800" b="1" err="1">
                <a:latin typeface="Alata"/>
              </a:rPr>
              <a:t>Mevada</a:t>
            </a:r>
            <a:r>
              <a:rPr lang="en" sz="2800" b="1">
                <a:latin typeface="Alata"/>
              </a:rPr>
              <a:t> </a:t>
            </a:r>
          </a:p>
          <a:p>
            <a:pPr marL="0" indent="0"/>
            <a:endParaRPr lang="en" sz="2800" b="1">
              <a:latin typeface="Alata"/>
            </a:endParaRPr>
          </a:p>
          <a:p>
            <a:pPr marL="0" indent="0"/>
            <a:r>
              <a:rPr lang="en" sz="2800" b="1">
                <a:latin typeface="Alata"/>
              </a:rPr>
              <a:t>Amulya </a:t>
            </a:r>
            <a:r>
              <a:rPr lang="en" sz="2800" b="1" err="1">
                <a:latin typeface="Alata"/>
              </a:rPr>
              <a:t>Suravarjhula</a:t>
            </a:r>
            <a:r>
              <a:rPr lang="en" sz="2800" b="1">
                <a:latin typeface="Alata"/>
              </a:rPr>
              <a:t> 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Google Shape;370;p40"/>
          <p:cNvSpPr txBox="1">
            <a:spLocks noGrp="1"/>
          </p:cNvSpPr>
          <p:nvPr>
            <p:ph type="title"/>
          </p:nvPr>
        </p:nvSpPr>
        <p:spPr>
          <a:xfrm>
            <a:off x="4743564" y="511269"/>
            <a:ext cx="3520200" cy="1541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en"/>
              <a:t>Challenge Overview</a:t>
            </a:r>
          </a:p>
        </p:txBody>
      </p:sp>
      <p:sp>
        <p:nvSpPr>
          <p:cNvPr id="372" name="Google Shape;372;p40"/>
          <p:cNvSpPr txBox="1">
            <a:spLocks noGrp="1"/>
          </p:cNvSpPr>
          <p:nvPr>
            <p:ph type="subTitle" idx="1"/>
          </p:nvPr>
        </p:nvSpPr>
        <p:spPr>
          <a:xfrm>
            <a:off x="4748770" y="3116224"/>
            <a:ext cx="4003018" cy="408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indent="0"/>
            <a:r>
              <a:rPr lang="en" sz="1800" b="1"/>
              <a:t>Toyota employees need an easy-to-use app to analyze vehicle fuel economy data for the years 2021-2025. The goal is to identify trends, insights, and relationships within the data to support decision making and innovation.</a:t>
            </a:r>
            <a:endParaRPr lang="en-US"/>
          </a:p>
        </p:txBody>
      </p:sp>
      <p:pic>
        <p:nvPicPr>
          <p:cNvPr id="2" name="Picture 1" descr="A car with a black background&#10;&#10;Description automatically generated">
            <a:extLst>
              <a:ext uri="{FF2B5EF4-FFF2-40B4-BE49-F238E27FC236}">
                <a16:creationId xmlns:a16="http://schemas.microsoft.com/office/drawing/2014/main" id="{963048FB-8791-9E2E-C0D0-8A3AD1DCF0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947174" y="2200110"/>
            <a:ext cx="6426680" cy="3529374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p41"/>
          <p:cNvSpPr txBox="1">
            <a:spLocks noGrp="1"/>
          </p:cNvSpPr>
          <p:nvPr>
            <p:ph type="body" idx="1"/>
          </p:nvPr>
        </p:nvSpPr>
        <p:spPr>
          <a:xfrm>
            <a:off x="4951500" y="1263450"/>
            <a:ext cx="3479400" cy="2616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285750" indent="-285750">
              <a:buClr>
                <a:srgbClr val="273D40"/>
              </a:buClr>
              <a:buSzPts val="600"/>
              <a:buFont typeface="Arial"/>
              <a:buChar char="•"/>
            </a:pPr>
            <a:r>
              <a:rPr lang="en" sz="1600" b="1"/>
              <a:t>Environmental sustainability: Fuel efficiency directly impacts carbon footprints</a:t>
            </a:r>
          </a:p>
          <a:p>
            <a:pPr marL="285750" indent="-285750">
              <a:buClr>
                <a:srgbClr val="273D40"/>
              </a:buClr>
              <a:buSzPts val="600"/>
              <a:buFont typeface="Arial"/>
              <a:buChar char="•"/>
            </a:pPr>
            <a:endParaRPr lang="en" sz="1600" b="1"/>
          </a:p>
          <a:p>
            <a:pPr marL="285750" indent="-285750">
              <a:buClr>
                <a:srgbClr val="273D40"/>
              </a:buClr>
              <a:buSzPts val="600"/>
              <a:buFont typeface="Arial"/>
              <a:buChar char="•"/>
            </a:pPr>
            <a:r>
              <a:rPr lang="en" sz="1600" b="1"/>
              <a:t>Regulatory Compliance: Adhering to strict fuel economy standards avoids penalties</a:t>
            </a:r>
          </a:p>
          <a:p>
            <a:pPr marL="285750" indent="-285750">
              <a:buClr>
                <a:srgbClr val="273D40"/>
              </a:buClr>
              <a:buSzPts val="600"/>
              <a:buFont typeface="Arial"/>
              <a:buChar char="•"/>
            </a:pPr>
            <a:endParaRPr lang="en" sz="1600" b="1"/>
          </a:p>
          <a:p>
            <a:pPr marL="285750" indent="-285750">
              <a:buClr>
                <a:srgbClr val="273D40"/>
              </a:buClr>
              <a:buSzPts val="600"/>
              <a:buFont typeface="Arial"/>
              <a:buChar char="•"/>
            </a:pPr>
            <a:r>
              <a:rPr lang="en" sz="1600" b="1"/>
              <a:t>Customer Demand: Enhancing fuel efficiency meets consumer expectations</a:t>
            </a:r>
          </a:p>
          <a:p>
            <a:pPr marL="285750" indent="-285750">
              <a:buClr>
                <a:srgbClr val="273D40"/>
              </a:buClr>
              <a:buSzPts val="600"/>
              <a:buFont typeface="Arial"/>
              <a:buChar char="•"/>
            </a:pPr>
            <a:endParaRPr lang="en" sz="1600" b="1"/>
          </a:p>
          <a:p>
            <a:pPr marL="285750" indent="-285750">
              <a:buClr>
                <a:srgbClr val="273D40"/>
              </a:buClr>
              <a:buSzPts val="600"/>
              <a:buFont typeface="Arial"/>
              <a:buChar char="•"/>
            </a:pPr>
            <a:r>
              <a:rPr lang="en" sz="1600" b="1"/>
              <a:t>Strategic Decision Making: Analyzing trends enables innovative design and production</a:t>
            </a:r>
          </a:p>
          <a:p>
            <a:pPr marL="285750" indent="-285750">
              <a:buClr>
                <a:srgbClr val="273D40"/>
              </a:buClr>
              <a:buSzPts val="600"/>
              <a:buFont typeface="Arial"/>
              <a:buChar char="•"/>
            </a:pPr>
            <a:endParaRPr lang="en" sz="1600" b="1"/>
          </a:p>
          <a:p>
            <a:pPr marL="285750" indent="-285750">
              <a:buClr>
                <a:srgbClr val="273D40"/>
              </a:buClr>
              <a:buSzPts val="600"/>
              <a:buFont typeface="Arial"/>
              <a:buChar char="•"/>
            </a:pPr>
            <a:r>
              <a:rPr lang="en" sz="1600" b="1"/>
              <a:t>Brand Reputation: Maintaining a lead in producing the most fuel-efficient vehicles on the market</a:t>
            </a:r>
          </a:p>
        </p:txBody>
      </p:sp>
      <p:sp>
        <p:nvSpPr>
          <p:cNvPr id="379" name="Google Shape;379;p41"/>
          <p:cNvSpPr txBox="1">
            <a:spLocks noGrp="1"/>
          </p:cNvSpPr>
          <p:nvPr>
            <p:ph type="title"/>
          </p:nvPr>
        </p:nvSpPr>
        <p:spPr>
          <a:xfrm>
            <a:off x="92333" y="914400"/>
            <a:ext cx="3741667" cy="1826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en" sz="4000">
                <a:solidFill>
                  <a:schemeClr val="dk1"/>
                </a:solidFill>
              </a:rPr>
              <a:t>Importance of the Problem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451;p44">
            <a:extLst>
              <a:ext uri="{FF2B5EF4-FFF2-40B4-BE49-F238E27FC236}">
                <a16:creationId xmlns:a16="http://schemas.microsoft.com/office/drawing/2014/main" id="{80ACAFC8-4A27-429A-DA5D-34B7AC4F3FD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-2462" y="539400"/>
            <a:ext cx="9148924" cy="478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en" sz="3600">
                <a:solidFill>
                  <a:schemeClr val="dk1"/>
                </a:solidFill>
              </a:rPr>
              <a:t>Proposed Solution: </a:t>
            </a: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9C6E146A-C071-C318-DEB4-FF28F7FF33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21" y="1661587"/>
            <a:ext cx="9142578" cy="2937900"/>
          </a:xfrm>
        </p:spPr>
        <p:txBody>
          <a:bodyPr/>
          <a:lstStyle/>
          <a:p>
            <a:r>
              <a:rPr lang="en-US" sz="1800"/>
              <a:t>The solution is an app that enables Toyota employees to: </a:t>
            </a:r>
          </a:p>
          <a:p>
            <a:endParaRPr lang="en-US" sz="1800"/>
          </a:p>
          <a:p>
            <a:pPr lvl="1">
              <a:lnSpc>
                <a:spcPct val="114999"/>
              </a:lnSpc>
            </a:pPr>
            <a:r>
              <a:rPr lang="en-US" sz="1800"/>
              <a:t>Developed using Python and </a:t>
            </a:r>
            <a:r>
              <a:rPr lang="en-US" sz="1800" err="1"/>
              <a:t>Streamlit</a:t>
            </a:r>
            <a:endParaRPr lang="en-US" err="1"/>
          </a:p>
          <a:p>
            <a:pPr lvl="1">
              <a:lnSpc>
                <a:spcPct val="114999"/>
              </a:lnSpc>
            </a:pPr>
            <a:r>
              <a:rPr lang="en-US" sz="1800"/>
              <a:t>Incorporate data visualization libraries: Matplotlib, Seaborn, </a:t>
            </a:r>
            <a:r>
              <a:rPr lang="en-US" sz="1800" err="1"/>
              <a:t>Plotly</a:t>
            </a:r>
          </a:p>
          <a:p>
            <a:pPr lvl="1">
              <a:lnSpc>
                <a:spcPct val="114999"/>
              </a:lnSpc>
            </a:pPr>
            <a:r>
              <a:rPr lang="en-US" sz="1800"/>
              <a:t>Allows real-time data filtering and analysis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060FEB3-69D8-5E2B-EE94-AB5EE2E17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/>
              <a:t>Key Features: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EB36B9C-6BBF-08C5-6B9B-96874BB4AB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2888" y="1736944"/>
            <a:ext cx="4058225" cy="1659814"/>
          </a:xfrm>
        </p:spPr>
        <p:txBody>
          <a:bodyPr/>
          <a:lstStyle/>
          <a:p>
            <a:r>
              <a:rPr lang="en-US" sz="2000" b="1"/>
              <a:t>Data loading and preprocessing </a:t>
            </a:r>
          </a:p>
          <a:p>
            <a:r>
              <a:rPr lang="en-US" sz="2000" b="1"/>
              <a:t>Interactive visualizations</a:t>
            </a:r>
          </a:p>
          <a:p>
            <a:r>
              <a:rPr lang="en-US" sz="2000" b="1"/>
              <a:t>Time series analysis</a:t>
            </a:r>
          </a:p>
          <a:p>
            <a:r>
              <a:rPr lang="en-US" sz="2000" b="1"/>
              <a:t>Vehicle type analysis</a:t>
            </a:r>
          </a:p>
          <a:p>
            <a:r>
              <a:rPr lang="en-US" sz="2000" b="1"/>
              <a:t>Custom analysis options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4" name="Google Shape;534;p48"/>
          <p:cNvSpPr txBox="1">
            <a:spLocks noGrp="1"/>
          </p:cNvSpPr>
          <p:nvPr>
            <p:ph type="title"/>
          </p:nvPr>
        </p:nvSpPr>
        <p:spPr>
          <a:xfrm>
            <a:off x="1634532" y="1280987"/>
            <a:ext cx="6796143" cy="2568713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en" sz="5400">
                <a:solidFill>
                  <a:schemeClr val="dk1"/>
                </a:solidFill>
              </a:rPr>
              <a:t>Impact of the Solution: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8" name="Google Shape;558;p50"/>
          <p:cNvSpPr txBox="1">
            <a:spLocks noGrp="1"/>
          </p:cNvSpPr>
          <p:nvPr>
            <p:ph type="title"/>
          </p:nvPr>
        </p:nvSpPr>
        <p:spPr>
          <a:xfrm>
            <a:off x="5121493" y="878853"/>
            <a:ext cx="2996700" cy="507300"/>
          </a:xfrm>
          <a:prstGeom prst="rect">
            <a:avLst/>
          </a:prstGeom>
        </p:spPr>
        <p:txBody>
          <a:bodyPr spcFirstLastPara="1" wrap="square" lIns="91425" tIns="91425" rIns="365750" bIns="91425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n"/>
              <a:t>With the data being collected and analyzed...</a:t>
            </a:r>
            <a:endParaRPr lang="en">
              <a:solidFill>
                <a:srgbClr val="191919"/>
              </a:solidFill>
            </a:endParaRPr>
          </a:p>
        </p:txBody>
      </p:sp>
      <p:sp>
        <p:nvSpPr>
          <p:cNvPr id="559" name="Google Shape;559;p50"/>
          <p:cNvSpPr txBox="1">
            <a:spLocks noGrp="1"/>
          </p:cNvSpPr>
          <p:nvPr>
            <p:ph type="subTitle" idx="1"/>
          </p:nvPr>
        </p:nvSpPr>
        <p:spPr>
          <a:xfrm>
            <a:off x="5434200" y="2173388"/>
            <a:ext cx="3242884" cy="1304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indent="0"/>
            <a:r>
              <a:rPr lang="en"/>
              <a:t>Toyota employees can make data-driven decisions that enhance product design, support innovation, and maintain Toyota’s competitive edge in the automotive industry.</a:t>
            </a:r>
          </a:p>
        </p:txBody>
      </p:sp>
      <p:pic>
        <p:nvPicPr>
          <p:cNvPr id="2" name="Picture 1" descr="A white car with a spoiler&#10;&#10;Description automatically generated">
            <a:extLst>
              <a:ext uri="{FF2B5EF4-FFF2-40B4-BE49-F238E27FC236}">
                <a16:creationId xmlns:a16="http://schemas.microsoft.com/office/drawing/2014/main" id="{ECBB2780-2B52-B50B-2FF1-2E446E5B6D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35188" y="1831292"/>
            <a:ext cx="5842000" cy="3315026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oad Construction Project Proposal by Slidesgo">
  <a:themeElements>
    <a:clrScheme name="Simple Light">
      <a:dk1>
        <a:srgbClr val="FFFFFF"/>
      </a:dk1>
      <a:lt1>
        <a:srgbClr val="191919"/>
      </a:lt1>
      <a:dk2>
        <a:srgbClr val="C32E2E"/>
      </a:dk2>
      <a:lt2>
        <a:srgbClr val="999999"/>
      </a:lt2>
      <a:accent1>
        <a:srgbClr val="FFFFFF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FFFFFF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On-screen Show (16:9)</PresentationFormat>
  <Slides>10</Slides>
  <Notes>1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Road Construction Project Proposal by Slidesgo</vt:lpstr>
      <vt:lpstr>Toyota’s Fuel Economy  Analysis Platform:  ToyotaEco</vt:lpstr>
      <vt:lpstr>Table of Contents:</vt:lpstr>
      <vt:lpstr>Our Team:</vt:lpstr>
      <vt:lpstr>Challenge Overview</vt:lpstr>
      <vt:lpstr>Importance of the Problem</vt:lpstr>
      <vt:lpstr>Proposed Solution: </vt:lpstr>
      <vt:lpstr>Key Features:</vt:lpstr>
      <vt:lpstr>Impact of the Solution:</vt:lpstr>
      <vt:lpstr>With the data being collected and analyzed...</vt:lpstr>
      <vt:lpstr>Conclusion and Insights: 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revision>30</cp:revision>
  <dcterms:modified xsi:type="dcterms:W3CDTF">2024-11-17T17:54:41Z</dcterms:modified>
</cp:coreProperties>
</file>